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2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2.xml" ContentType="application/vnd.openxmlformats-officedocument.presentationml.notesSlide+xml"/>
  <Override PartName="/ppt/tags/tag47.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50"/>
  </p:notesMasterIdLst>
  <p:handoutMasterIdLst>
    <p:handoutMasterId r:id="rId51"/>
  </p:handoutMasterIdLst>
  <p:sldIdLst>
    <p:sldId id="293" r:id="rId6"/>
    <p:sldId id="257" r:id="rId7"/>
    <p:sldId id="258" r:id="rId8"/>
    <p:sldId id="301" r:id="rId9"/>
    <p:sldId id="302" r:id="rId10"/>
    <p:sldId id="296" r:id="rId11"/>
    <p:sldId id="297" r:id="rId12"/>
    <p:sldId id="298" r:id="rId13"/>
    <p:sldId id="299" r:id="rId14"/>
    <p:sldId id="300" r:id="rId15"/>
    <p:sldId id="262" r:id="rId16"/>
    <p:sldId id="303" r:id="rId17"/>
    <p:sldId id="314" r:id="rId18"/>
    <p:sldId id="304" r:id="rId19"/>
    <p:sldId id="305" r:id="rId20"/>
    <p:sldId id="306" r:id="rId21"/>
    <p:sldId id="307" r:id="rId22"/>
    <p:sldId id="308" r:id="rId23"/>
    <p:sldId id="309" r:id="rId24"/>
    <p:sldId id="315" r:id="rId25"/>
    <p:sldId id="316" r:id="rId26"/>
    <p:sldId id="318" r:id="rId27"/>
    <p:sldId id="317" r:id="rId28"/>
    <p:sldId id="319" r:id="rId29"/>
    <p:sldId id="320" r:id="rId30"/>
    <p:sldId id="321" r:id="rId31"/>
    <p:sldId id="322" r:id="rId32"/>
    <p:sldId id="323" r:id="rId33"/>
    <p:sldId id="324" r:id="rId34"/>
    <p:sldId id="325" r:id="rId35"/>
    <p:sldId id="295" r:id="rId36"/>
    <p:sldId id="263" r:id="rId37"/>
    <p:sldId id="326" r:id="rId38"/>
    <p:sldId id="264" r:id="rId39"/>
    <p:sldId id="327" r:id="rId40"/>
    <p:sldId id="328" r:id="rId41"/>
    <p:sldId id="329" r:id="rId42"/>
    <p:sldId id="330" r:id="rId43"/>
    <p:sldId id="331" r:id="rId44"/>
    <p:sldId id="332" r:id="rId45"/>
    <p:sldId id="288" r:id="rId46"/>
    <p:sldId id="290" r:id="rId47"/>
    <p:sldId id="291" r:id="rId48"/>
    <p:sldId id="292" r:id="rId49"/>
  </p:sldIdLst>
  <p:sldSz cx="12188825" cy="6858000"/>
  <p:notesSz cx="6858000" cy="9296400"/>
  <p:embeddedFontLst>
    <p:embeddedFont>
      <p:font typeface="Consolas" pitchFamily="49" charset="0"/>
      <p:regular r:id="rId52"/>
      <p:bold r:id="rId53"/>
      <p:italic r:id="rId54"/>
      <p:boldItalic r:id="rId55"/>
    </p:embeddedFont>
    <p:embeddedFont>
      <p:font typeface="Segoe UI Light" pitchFamily="34" charset="0"/>
      <p:regular r:id="rId56"/>
    </p:embeddedFont>
    <p:embeddedFont>
      <p:font typeface="Segoe UI" pitchFamily="34" charset="0"/>
      <p:regular r:id="rId57"/>
      <p:bold r:id="rId58"/>
      <p:italic r:id="rId59"/>
      <p:boldItalic r:id="rId60"/>
    </p:embeddedFont>
  </p:embeddedFontLst>
  <p:custDataLst>
    <p:tags r:id="rId6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96403" autoAdjust="0"/>
  </p:normalViewPr>
  <p:slideViewPr>
    <p:cSldViewPr snapToGrid="0">
      <p:cViewPr>
        <p:scale>
          <a:sx n="90" d="100"/>
          <a:sy n="90" d="100"/>
        </p:scale>
        <p:origin x="-744" y="-7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font" Target="fonts/font4.fntdata"/><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3.fntdata"/><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2.fntdata"/><Relationship Id="rId58" Type="http://schemas.openxmlformats.org/officeDocument/2006/relationships/font" Target="fonts/font7.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6.fntdata"/><Relationship Id="rId61"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1.fntdata"/><Relationship Id="rId60" Type="http://schemas.openxmlformats.org/officeDocument/2006/relationships/font" Target="fonts/font9.fntdata"/><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5.fntdata"/><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8.fntdata"/></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BD89BA-7D94-4C4D-891E-8843441756E6}" type="doc">
      <dgm:prSet loTypeId="urn:microsoft.com/office/officeart/2005/8/layout/hList1" loCatId="list" qsTypeId="urn:microsoft.com/office/officeart/2005/8/quickstyle/simple1" qsCatId="simple" csTypeId="urn:microsoft.com/office/officeart/2005/8/colors/accent6_2" csCatId="accent6" phldr="1"/>
      <dgm:spPr/>
      <dgm:t>
        <a:bodyPr/>
        <a:lstStyle/>
        <a:p>
          <a:endParaRPr lang="en-US"/>
        </a:p>
      </dgm:t>
    </dgm:pt>
    <dgm:pt modelId="{74045906-B780-4139-AE4A-A6FE724B37EE}">
      <dgm:prSet phldrT="[Text]" custT="1"/>
      <dgm:spPr/>
      <dgm:t>
        <a:bodyPr/>
        <a:lstStyle/>
        <a:p>
          <a:r>
            <a:rPr lang="en-US" sz="1400" dirty="0" smtClean="0"/>
            <a:t>HTML5</a:t>
          </a:r>
          <a:endParaRPr lang="en-US" sz="1400" dirty="0"/>
        </a:p>
      </dgm:t>
    </dgm:pt>
    <dgm:pt modelId="{5ACE0259-757D-482C-8D67-FF13AC9CEB40}" type="parTrans" cxnId="{F5EA4818-EF9F-46EC-84EA-D694D5554381}">
      <dgm:prSet/>
      <dgm:spPr/>
      <dgm:t>
        <a:bodyPr/>
        <a:lstStyle/>
        <a:p>
          <a:endParaRPr lang="en-US" sz="1400"/>
        </a:p>
      </dgm:t>
    </dgm:pt>
    <dgm:pt modelId="{F04565A1-B352-4959-ABFF-C41FCA7D3AB2}" type="sibTrans" cxnId="{F5EA4818-EF9F-46EC-84EA-D694D5554381}">
      <dgm:prSet/>
      <dgm:spPr/>
      <dgm:t>
        <a:bodyPr/>
        <a:lstStyle/>
        <a:p>
          <a:endParaRPr lang="en-US" sz="1400"/>
        </a:p>
      </dgm:t>
    </dgm:pt>
    <dgm:pt modelId="{C7B13238-0423-4933-BA73-D71124EE3028}">
      <dgm:prSet phldrT="[Text]" custT="1"/>
      <dgm:spPr/>
      <dgm:t>
        <a:bodyPr/>
        <a:lstStyle/>
        <a:p>
          <a:pPr rtl="0"/>
          <a:r>
            <a:rPr lang="en-US" sz="1400" b="0" i="0" dirty="0" smtClean="0"/>
            <a:t>New Markup Elements</a:t>
          </a:r>
          <a:endParaRPr lang="en-US" sz="1400" dirty="0"/>
        </a:p>
      </dgm:t>
    </dgm:pt>
    <dgm:pt modelId="{D99B37EA-8E46-4681-89F8-6AED8B35FE6B}" type="parTrans" cxnId="{45AE0832-E6DE-4295-BEBD-053E668912CB}">
      <dgm:prSet/>
      <dgm:spPr/>
      <dgm:t>
        <a:bodyPr/>
        <a:lstStyle/>
        <a:p>
          <a:endParaRPr lang="en-US" sz="1400"/>
        </a:p>
      </dgm:t>
    </dgm:pt>
    <dgm:pt modelId="{F422B3F3-3193-4655-808B-8361ED42B8F9}" type="sibTrans" cxnId="{45AE0832-E6DE-4295-BEBD-053E668912CB}">
      <dgm:prSet/>
      <dgm:spPr/>
      <dgm:t>
        <a:bodyPr/>
        <a:lstStyle/>
        <a:p>
          <a:endParaRPr lang="en-US" sz="1400"/>
        </a:p>
      </dgm:t>
    </dgm:pt>
    <dgm:pt modelId="{AEC3390A-ED14-4F5D-8ECE-F9023C0DF904}">
      <dgm:prSet phldrT="[Text]" custT="1"/>
      <dgm:spPr/>
      <dgm:t>
        <a:bodyPr/>
        <a:lstStyle/>
        <a:p>
          <a:r>
            <a:rPr lang="en-US" sz="1400" dirty="0" smtClean="0"/>
            <a:t>CSS3</a:t>
          </a:r>
          <a:endParaRPr lang="en-US" sz="1400" dirty="0"/>
        </a:p>
      </dgm:t>
    </dgm:pt>
    <dgm:pt modelId="{CBE793C4-94B3-4891-9DEA-7D3B91DCDBFA}" type="parTrans" cxnId="{0C38D09F-FEF0-4CDA-B370-6CE328232D4D}">
      <dgm:prSet/>
      <dgm:spPr/>
      <dgm:t>
        <a:bodyPr/>
        <a:lstStyle/>
        <a:p>
          <a:endParaRPr lang="en-US" sz="1400"/>
        </a:p>
      </dgm:t>
    </dgm:pt>
    <dgm:pt modelId="{1A981393-9B0E-4EC2-9778-6A05223A30AC}" type="sibTrans" cxnId="{0C38D09F-FEF0-4CDA-B370-6CE328232D4D}">
      <dgm:prSet/>
      <dgm:spPr/>
      <dgm:t>
        <a:bodyPr/>
        <a:lstStyle/>
        <a:p>
          <a:endParaRPr lang="en-US" sz="1400"/>
        </a:p>
      </dgm:t>
    </dgm:pt>
    <dgm:pt modelId="{88A2BC3F-54B0-49FE-84F7-80AC07D0867F}">
      <dgm:prSet phldrT="[Text]" custT="1"/>
      <dgm:spPr/>
      <dgm:t>
        <a:bodyPr/>
        <a:lstStyle/>
        <a:p>
          <a:pPr rtl="0"/>
          <a:r>
            <a:rPr lang="en-US" sz="1400" b="0" i="0" u="none" smtClean="0"/>
            <a:t>2D Transforms</a:t>
          </a:r>
          <a:endParaRPr lang="en-US" sz="1400" dirty="0"/>
        </a:p>
      </dgm:t>
    </dgm:pt>
    <dgm:pt modelId="{3F14729F-7A84-4907-8E4E-2EECA7CE8CA5}" type="parTrans" cxnId="{68333C3D-95DA-4896-9C86-1CBA090E2E37}">
      <dgm:prSet/>
      <dgm:spPr/>
      <dgm:t>
        <a:bodyPr/>
        <a:lstStyle/>
        <a:p>
          <a:endParaRPr lang="en-US" sz="1400"/>
        </a:p>
      </dgm:t>
    </dgm:pt>
    <dgm:pt modelId="{AFC5348F-761B-4DCA-B31F-37D60A6B5058}" type="sibTrans" cxnId="{68333C3D-95DA-4896-9C86-1CBA090E2E37}">
      <dgm:prSet/>
      <dgm:spPr/>
      <dgm:t>
        <a:bodyPr/>
        <a:lstStyle/>
        <a:p>
          <a:endParaRPr lang="en-US" sz="1400"/>
        </a:p>
      </dgm:t>
    </dgm:pt>
    <dgm:pt modelId="{CBFB4CA8-E9BD-47CD-A26C-C49B2D1FCFA5}">
      <dgm:prSet phldrT="[Text]" custT="1"/>
      <dgm:spPr/>
      <dgm:t>
        <a:bodyPr/>
        <a:lstStyle/>
        <a:p>
          <a:r>
            <a:rPr lang="en-US" sz="1400" dirty="0" smtClean="0"/>
            <a:t>SVG</a:t>
          </a:r>
          <a:endParaRPr lang="en-US" sz="1400" dirty="0"/>
        </a:p>
      </dgm:t>
    </dgm:pt>
    <dgm:pt modelId="{6921FC98-C64D-43D3-84FF-BD52D24B90B8}" type="parTrans" cxnId="{52910794-21CD-4901-BEF9-29C83910863A}">
      <dgm:prSet/>
      <dgm:spPr/>
      <dgm:t>
        <a:bodyPr/>
        <a:lstStyle/>
        <a:p>
          <a:endParaRPr lang="en-US" sz="1400"/>
        </a:p>
      </dgm:t>
    </dgm:pt>
    <dgm:pt modelId="{0DA76523-6997-4A90-9B36-F61FADF204CB}" type="sibTrans" cxnId="{52910794-21CD-4901-BEF9-29C83910863A}">
      <dgm:prSet/>
      <dgm:spPr/>
      <dgm:t>
        <a:bodyPr/>
        <a:lstStyle/>
        <a:p>
          <a:endParaRPr lang="en-US" sz="1400"/>
        </a:p>
      </dgm:t>
    </dgm:pt>
    <dgm:pt modelId="{D8173E75-EF2E-42BA-9D7C-C951A73B68D1}">
      <dgm:prSet phldrT="[Text]" custT="1"/>
      <dgm:spPr/>
      <dgm:t>
        <a:bodyPr/>
        <a:lstStyle/>
        <a:p>
          <a:pPr rtl="0"/>
          <a:r>
            <a:rPr lang="en-US" sz="1400" b="0" i="0" smtClean="0"/>
            <a:t>Shapes</a:t>
          </a:r>
          <a:endParaRPr lang="en-US" sz="1400" dirty="0"/>
        </a:p>
      </dgm:t>
    </dgm:pt>
    <dgm:pt modelId="{1B52B868-4693-444D-9E5C-1AFCC8A5FE44}" type="parTrans" cxnId="{A9428859-25C5-467E-A809-F86176613736}">
      <dgm:prSet/>
      <dgm:spPr/>
      <dgm:t>
        <a:bodyPr/>
        <a:lstStyle/>
        <a:p>
          <a:endParaRPr lang="en-US" sz="1400"/>
        </a:p>
      </dgm:t>
    </dgm:pt>
    <dgm:pt modelId="{D046B214-91F8-4EB0-AC11-153205B7FB66}" type="sibTrans" cxnId="{A9428859-25C5-467E-A809-F86176613736}">
      <dgm:prSet/>
      <dgm:spPr/>
      <dgm:t>
        <a:bodyPr/>
        <a:lstStyle/>
        <a:p>
          <a:endParaRPr lang="en-US" sz="1400"/>
        </a:p>
      </dgm:t>
    </dgm:pt>
    <dgm:pt modelId="{06BE6CC3-25D1-47E9-82AD-5F825510E3A4}">
      <dgm:prSet phldrT="[Text]" custT="1"/>
      <dgm:spPr/>
      <dgm:t>
        <a:bodyPr/>
        <a:lstStyle/>
        <a:p>
          <a:r>
            <a:rPr lang="en-US" sz="1400" dirty="0" smtClean="0"/>
            <a:t>Others</a:t>
          </a:r>
          <a:endParaRPr lang="en-US" sz="1400" dirty="0"/>
        </a:p>
      </dgm:t>
    </dgm:pt>
    <dgm:pt modelId="{568137ED-C01F-4D36-B8B8-3545E8B0F1E5}" type="parTrans" cxnId="{B34A9F6E-F06C-4B08-8E85-6241AC78B6B2}">
      <dgm:prSet/>
      <dgm:spPr/>
      <dgm:t>
        <a:bodyPr/>
        <a:lstStyle/>
        <a:p>
          <a:endParaRPr lang="en-US" sz="1400"/>
        </a:p>
      </dgm:t>
    </dgm:pt>
    <dgm:pt modelId="{FC275445-2869-453B-924D-2A1D5A392EB6}" type="sibTrans" cxnId="{B34A9F6E-F06C-4B08-8E85-6241AC78B6B2}">
      <dgm:prSet/>
      <dgm:spPr/>
      <dgm:t>
        <a:bodyPr/>
        <a:lstStyle/>
        <a:p>
          <a:endParaRPr lang="en-US" sz="1400"/>
        </a:p>
      </dgm:t>
    </dgm:pt>
    <dgm:pt modelId="{888EE4A4-C22A-4559-86A6-1A2409263C1B}">
      <dgm:prSet custT="1"/>
      <dgm:spPr/>
      <dgm:t>
        <a:bodyPr/>
        <a:lstStyle/>
        <a:p>
          <a:pPr rtl="0"/>
          <a:r>
            <a:rPr lang="en-US" sz="1400" b="0" i="0" smtClean="0"/>
            <a:t>Canvas</a:t>
          </a:r>
          <a:endParaRPr lang="en-US" sz="1400" dirty="0"/>
        </a:p>
      </dgm:t>
    </dgm:pt>
    <dgm:pt modelId="{04605B2B-A4FD-4BAE-A63A-D3921CCD7571}" type="parTrans" cxnId="{4F3DAA9A-F695-4D31-9403-64EC1DF2DCED}">
      <dgm:prSet/>
      <dgm:spPr/>
      <dgm:t>
        <a:bodyPr/>
        <a:lstStyle/>
        <a:p>
          <a:endParaRPr lang="en-US" sz="1400"/>
        </a:p>
      </dgm:t>
    </dgm:pt>
    <dgm:pt modelId="{7875A2D0-70DC-4332-8157-E77B44A984AF}" type="sibTrans" cxnId="{4F3DAA9A-F695-4D31-9403-64EC1DF2DCED}">
      <dgm:prSet/>
      <dgm:spPr/>
      <dgm:t>
        <a:bodyPr/>
        <a:lstStyle/>
        <a:p>
          <a:endParaRPr lang="en-US" sz="1400"/>
        </a:p>
      </dgm:t>
    </dgm:pt>
    <dgm:pt modelId="{C30B8B32-A314-40CC-A910-811637599162}">
      <dgm:prSet custT="1"/>
      <dgm:spPr/>
      <dgm:t>
        <a:bodyPr/>
        <a:lstStyle/>
        <a:p>
          <a:pPr rtl="0"/>
          <a:r>
            <a:rPr lang="en-US" sz="1400" b="0" i="0" smtClean="0"/>
            <a:t>Audio</a:t>
          </a:r>
          <a:endParaRPr lang="en-US" sz="1400" dirty="0"/>
        </a:p>
      </dgm:t>
    </dgm:pt>
    <dgm:pt modelId="{134C2468-82C4-4FC3-8837-0FF669C34A1F}" type="parTrans" cxnId="{7031787A-E101-4BA0-B308-276DDCA93BA3}">
      <dgm:prSet/>
      <dgm:spPr/>
      <dgm:t>
        <a:bodyPr/>
        <a:lstStyle/>
        <a:p>
          <a:endParaRPr lang="en-US" sz="1400"/>
        </a:p>
      </dgm:t>
    </dgm:pt>
    <dgm:pt modelId="{C7E31C37-9CB6-40B0-8E13-B962C55C3367}" type="sibTrans" cxnId="{7031787A-E101-4BA0-B308-276DDCA93BA3}">
      <dgm:prSet/>
      <dgm:spPr/>
      <dgm:t>
        <a:bodyPr/>
        <a:lstStyle/>
        <a:p>
          <a:endParaRPr lang="en-US" sz="1400"/>
        </a:p>
      </dgm:t>
    </dgm:pt>
    <dgm:pt modelId="{11CCAF2C-B6FD-40AB-8A00-04F964BEDA92}">
      <dgm:prSet custT="1"/>
      <dgm:spPr/>
      <dgm:t>
        <a:bodyPr/>
        <a:lstStyle/>
        <a:p>
          <a:pPr rtl="0"/>
          <a:r>
            <a:rPr lang="en-US" sz="1400" b="0" i="0" dirty="0" smtClean="0"/>
            <a:t>Video</a:t>
          </a:r>
          <a:endParaRPr lang="en-US" sz="1400" dirty="0"/>
        </a:p>
      </dgm:t>
    </dgm:pt>
    <dgm:pt modelId="{3277040F-790A-4418-BB57-B57A12F4AE88}" type="parTrans" cxnId="{AD2F9874-5A69-431F-A087-E5B801309F4E}">
      <dgm:prSet/>
      <dgm:spPr/>
      <dgm:t>
        <a:bodyPr/>
        <a:lstStyle/>
        <a:p>
          <a:endParaRPr lang="en-US" sz="1400"/>
        </a:p>
      </dgm:t>
    </dgm:pt>
    <dgm:pt modelId="{A0B30C60-EB48-4526-8807-CD7901438324}" type="sibTrans" cxnId="{AD2F9874-5A69-431F-A087-E5B801309F4E}">
      <dgm:prSet/>
      <dgm:spPr/>
      <dgm:t>
        <a:bodyPr/>
        <a:lstStyle/>
        <a:p>
          <a:endParaRPr lang="en-US" sz="1400"/>
        </a:p>
      </dgm:t>
    </dgm:pt>
    <dgm:pt modelId="{E15DC868-1BFD-4C9B-A15D-BCD5CAC9876B}">
      <dgm:prSet custT="1"/>
      <dgm:spPr/>
      <dgm:t>
        <a:bodyPr/>
        <a:lstStyle/>
        <a:p>
          <a:pPr rtl="0"/>
          <a:r>
            <a:rPr lang="en-US" sz="1400" b="0" i="0" smtClean="0"/>
            <a:t>Local Storage</a:t>
          </a:r>
          <a:endParaRPr lang="en-US" sz="1400" dirty="0"/>
        </a:p>
      </dgm:t>
    </dgm:pt>
    <dgm:pt modelId="{187CA5D0-2A2C-428A-AEDA-DBDD10A4456C}" type="parTrans" cxnId="{3B27322A-F7B4-4891-A3AA-4D12335CA6B2}">
      <dgm:prSet/>
      <dgm:spPr/>
      <dgm:t>
        <a:bodyPr/>
        <a:lstStyle/>
        <a:p>
          <a:endParaRPr lang="en-US" sz="1400"/>
        </a:p>
      </dgm:t>
    </dgm:pt>
    <dgm:pt modelId="{435C58D5-7104-46BD-B2AF-0215F69BB852}" type="sibTrans" cxnId="{3B27322A-F7B4-4891-A3AA-4D12335CA6B2}">
      <dgm:prSet/>
      <dgm:spPr/>
      <dgm:t>
        <a:bodyPr/>
        <a:lstStyle/>
        <a:p>
          <a:endParaRPr lang="en-US" sz="1400"/>
        </a:p>
      </dgm:t>
    </dgm:pt>
    <dgm:pt modelId="{C13FDA92-C800-4C17-9043-F5CBC498A96C}">
      <dgm:prSet custT="1"/>
      <dgm:spPr/>
      <dgm:t>
        <a:bodyPr/>
        <a:lstStyle/>
        <a:p>
          <a:pPr rtl="0"/>
          <a:r>
            <a:rPr lang="en-US" sz="1400" b="0" i="0" dirty="0" smtClean="0"/>
            <a:t>Cross-Window Messaging</a:t>
          </a:r>
          <a:endParaRPr lang="en-US" sz="1400" dirty="0"/>
        </a:p>
      </dgm:t>
    </dgm:pt>
    <dgm:pt modelId="{92053148-1DC2-4137-89CE-B225DA9F0DE7}" type="parTrans" cxnId="{F6B89742-3C94-4FA2-94A4-E2B5C0EBCEB6}">
      <dgm:prSet/>
      <dgm:spPr/>
      <dgm:t>
        <a:bodyPr/>
        <a:lstStyle/>
        <a:p>
          <a:endParaRPr lang="en-US" sz="1400"/>
        </a:p>
      </dgm:t>
    </dgm:pt>
    <dgm:pt modelId="{1B0DA3D2-9BC6-44F5-92CC-AB01E6FEEAEA}" type="sibTrans" cxnId="{F6B89742-3C94-4FA2-94A4-E2B5C0EBCEB6}">
      <dgm:prSet/>
      <dgm:spPr/>
      <dgm:t>
        <a:bodyPr/>
        <a:lstStyle/>
        <a:p>
          <a:endParaRPr lang="en-US" sz="1400"/>
        </a:p>
      </dgm:t>
    </dgm:pt>
    <dgm:pt modelId="{047FAA6E-FEB7-4108-8A68-A0912290B482}">
      <dgm:prSet custT="1"/>
      <dgm:spPr/>
      <dgm:t>
        <a:bodyPr/>
        <a:lstStyle/>
        <a:p>
          <a:pPr rtl="0"/>
          <a:r>
            <a:rPr lang="en-US" sz="1400" b="0" i="0" smtClean="0"/>
            <a:t>Text Selection APIs</a:t>
          </a:r>
          <a:endParaRPr lang="en-US" sz="1400" dirty="0"/>
        </a:p>
      </dgm:t>
    </dgm:pt>
    <dgm:pt modelId="{E1B838D9-E847-481F-A4AC-D19263FE454E}" type="parTrans" cxnId="{FC84F1CC-C723-4237-A951-154CAB779219}">
      <dgm:prSet/>
      <dgm:spPr/>
      <dgm:t>
        <a:bodyPr/>
        <a:lstStyle/>
        <a:p>
          <a:endParaRPr lang="en-US" sz="1400"/>
        </a:p>
      </dgm:t>
    </dgm:pt>
    <dgm:pt modelId="{350438A2-BF78-48DB-8AD1-341EC54A4CBB}" type="sibTrans" cxnId="{FC84F1CC-C723-4237-A951-154CAB779219}">
      <dgm:prSet/>
      <dgm:spPr/>
      <dgm:t>
        <a:bodyPr/>
        <a:lstStyle/>
        <a:p>
          <a:endParaRPr lang="en-US" sz="1400"/>
        </a:p>
      </dgm:t>
    </dgm:pt>
    <dgm:pt modelId="{D8010237-44A2-4C7E-ABE5-12BEB2A2A4DB}">
      <dgm:prSet custT="1"/>
      <dgm:spPr/>
      <dgm:t>
        <a:bodyPr/>
        <a:lstStyle/>
        <a:p>
          <a:pPr rtl="0"/>
          <a:r>
            <a:rPr lang="en-US" sz="1400" smtClean="0"/>
            <a:t>Parsing SVG in HTML</a:t>
          </a:r>
          <a:endParaRPr lang="en-US" sz="1400" dirty="0"/>
        </a:p>
      </dgm:t>
    </dgm:pt>
    <dgm:pt modelId="{1FFB994C-7518-477C-926C-7D6A78E5729B}" type="parTrans" cxnId="{BF3EFC17-02EF-4BB7-A5B8-9C75A3138DED}">
      <dgm:prSet/>
      <dgm:spPr/>
      <dgm:t>
        <a:bodyPr/>
        <a:lstStyle/>
        <a:p>
          <a:endParaRPr lang="en-US" sz="1400"/>
        </a:p>
      </dgm:t>
    </dgm:pt>
    <dgm:pt modelId="{FA5E10FB-CDA4-4E3A-97DE-D1BB065408DB}" type="sibTrans" cxnId="{BF3EFC17-02EF-4BB7-A5B8-9C75A3138DED}">
      <dgm:prSet/>
      <dgm:spPr/>
      <dgm:t>
        <a:bodyPr/>
        <a:lstStyle/>
        <a:p>
          <a:endParaRPr lang="en-US" sz="1400"/>
        </a:p>
      </dgm:t>
    </dgm:pt>
    <dgm:pt modelId="{97EE351D-3AAC-410D-97DD-2693E965D1B2}">
      <dgm:prSet custT="1"/>
      <dgm:spPr/>
      <dgm:t>
        <a:bodyPr/>
        <a:lstStyle/>
        <a:p>
          <a:r>
            <a:rPr lang="en-US" sz="1400" b="0" i="0" u="none" smtClean="0"/>
            <a:t>Border Radius</a:t>
          </a:r>
          <a:endParaRPr lang="en-US" sz="1400" dirty="0"/>
        </a:p>
      </dgm:t>
    </dgm:pt>
    <dgm:pt modelId="{F022E097-E7B6-4739-8AD7-D9A7A0AE4C09}" type="parTrans" cxnId="{34DEB732-C0A3-44BC-A084-B761CEDA6B3A}">
      <dgm:prSet/>
      <dgm:spPr/>
      <dgm:t>
        <a:bodyPr/>
        <a:lstStyle/>
        <a:p>
          <a:endParaRPr lang="en-US" sz="1400"/>
        </a:p>
      </dgm:t>
    </dgm:pt>
    <dgm:pt modelId="{56CD6295-270A-4D1D-BF76-B20EC59D0F22}" type="sibTrans" cxnId="{34DEB732-C0A3-44BC-A084-B761CEDA6B3A}">
      <dgm:prSet/>
      <dgm:spPr/>
      <dgm:t>
        <a:bodyPr/>
        <a:lstStyle/>
        <a:p>
          <a:endParaRPr lang="en-US" sz="1400"/>
        </a:p>
      </dgm:t>
    </dgm:pt>
    <dgm:pt modelId="{6CDC56A3-8FC1-4391-B0F6-8B7C405D3478}">
      <dgm:prSet custT="1"/>
      <dgm:spPr/>
      <dgm:t>
        <a:bodyPr/>
        <a:lstStyle/>
        <a:p>
          <a:r>
            <a:rPr lang="en-US" sz="1400" b="0" i="0" u="none" smtClean="0"/>
            <a:t>Box-Shadow</a:t>
          </a:r>
          <a:endParaRPr lang="en-US" sz="1400" dirty="0"/>
        </a:p>
      </dgm:t>
    </dgm:pt>
    <dgm:pt modelId="{1C11478E-E425-40E6-9AB8-CDE125CEBA1C}" type="parTrans" cxnId="{657B9E1B-97D9-41F2-BD3E-4BB44CB42D98}">
      <dgm:prSet/>
      <dgm:spPr/>
      <dgm:t>
        <a:bodyPr/>
        <a:lstStyle/>
        <a:p>
          <a:endParaRPr lang="en-US" sz="1400"/>
        </a:p>
      </dgm:t>
    </dgm:pt>
    <dgm:pt modelId="{C291EB81-DF19-4133-821C-82E68090C9BF}" type="sibTrans" cxnId="{657B9E1B-97D9-41F2-BD3E-4BB44CB42D98}">
      <dgm:prSet/>
      <dgm:spPr/>
      <dgm:t>
        <a:bodyPr/>
        <a:lstStyle/>
        <a:p>
          <a:endParaRPr lang="en-US" sz="1400"/>
        </a:p>
      </dgm:t>
    </dgm:pt>
    <dgm:pt modelId="{462D8A2F-813E-45D0-8ADF-DE86CBEE1DC9}">
      <dgm:prSet custT="1"/>
      <dgm:spPr/>
      <dgm:t>
        <a:bodyPr/>
        <a:lstStyle/>
        <a:p>
          <a:r>
            <a:rPr lang="en-US" sz="1400" b="0" i="0" u="none" smtClean="0"/>
            <a:t>Fonts (WOFF)</a:t>
          </a:r>
          <a:endParaRPr lang="en-US" sz="1400" dirty="0"/>
        </a:p>
      </dgm:t>
    </dgm:pt>
    <dgm:pt modelId="{57DA0CC2-5378-40B3-B806-2651939C680C}" type="parTrans" cxnId="{E9E1D1FC-5CA8-4F82-9117-DFC4201C0C6F}">
      <dgm:prSet/>
      <dgm:spPr/>
      <dgm:t>
        <a:bodyPr/>
        <a:lstStyle/>
        <a:p>
          <a:endParaRPr lang="en-US" sz="1400"/>
        </a:p>
      </dgm:t>
    </dgm:pt>
    <dgm:pt modelId="{0A0D82BB-B736-4C52-AE82-8B3BDCDFCDC8}" type="sibTrans" cxnId="{E9E1D1FC-5CA8-4F82-9117-DFC4201C0C6F}">
      <dgm:prSet/>
      <dgm:spPr/>
      <dgm:t>
        <a:bodyPr/>
        <a:lstStyle/>
        <a:p>
          <a:endParaRPr lang="en-US" sz="1400"/>
        </a:p>
      </dgm:t>
    </dgm:pt>
    <dgm:pt modelId="{489E424F-AE0A-4B4B-9A29-A8EBBFCC38F5}">
      <dgm:prSet custT="1"/>
      <dgm:spPr/>
      <dgm:t>
        <a:bodyPr/>
        <a:lstStyle/>
        <a:p>
          <a:r>
            <a:rPr lang="en-US" sz="1400" b="0" i="0" u="none" smtClean="0"/>
            <a:t>Media Queries</a:t>
          </a:r>
          <a:endParaRPr lang="en-US" sz="1400" dirty="0"/>
        </a:p>
      </dgm:t>
    </dgm:pt>
    <dgm:pt modelId="{E8926A02-030E-49D8-96C7-5BF19C052149}" type="parTrans" cxnId="{4DA87D1B-01A5-49A3-89E8-95E2F0CCFAD8}">
      <dgm:prSet/>
      <dgm:spPr/>
      <dgm:t>
        <a:bodyPr/>
        <a:lstStyle/>
        <a:p>
          <a:endParaRPr lang="en-US" sz="1400"/>
        </a:p>
      </dgm:t>
    </dgm:pt>
    <dgm:pt modelId="{CD74411C-9251-4A48-8B54-7F4C6B2A5DB3}" type="sibTrans" cxnId="{4DA87D1B-01A5-49A3-89E8-95E2F0CCFAD8}">
      <dgm:prSet/>
      <dgm:spPr/>
      <dgm:t>
        <a:bodyPr/>
        <a:lstStyle/>
        <a:p>
          <a:endParaRPr lang="en-US" sz="1400"/>
        </a:p>
      </dgm:t>
    </dgm:pt>
    <dgm:pt modelId="{99B2976C-90C2-4F6C-953B-3B188425BEF8}">
      <dgm:prSet custT="1"/>
      <dgm:spPr/>
      <dgm:t>
        <a:bodyPr/>
        <a:lstStyle/>
        <a:p>
          <a:r>
            <a:rPr lang="en-US" sz="1400" b="0" i="0" u="none" dirty="0" smtClean="0"/>
            <a:t>Multiple Backgrounds</a:t>
          </a:r>
          <a:endParaRPr lang="en-US" sz="1400" dirty="0"/>
        </a:p>
      </dgm:t>
    </dgm:pt>
    <dgm:pt modelId="{EADFCB05-65E8-42FD-96FE-A3E545044289}" type="parTrans" cxnId="{BDE8C5D4-6E4C-4C43-BF5F-5C47C05C5C68}">
      <dgm:prSet/>
      <dgm:spPr/>
      <dgm:t>
        <a:bodyPr/>
        <a:lstStyle/>
        <a:p>
          <a:endParaRPr lang="en-US" sz="1400"/>
        </a:p>
      </dgm:t>
    </dgm:pt>
    <dgm:pt modelId="{0BF8EF5C-F71C-46AC-9B1A-4DE356C44DD7}" type="sibTrans" cxnId="{BDE8C5D4-6E4C-4C43-BF5F-5C47C05C5C68}">
      <dgm:prSet/>
      <dgm:spPr/>
      <dgm:t>
        <a:bodyPr/>
        <a:lstStyle/>
        <a:p>
          <a:endParaRPr lang="en-US" sz="1400"/>
        </a:p>
      </dgm:t>
    </dgm:pt>
    <dgm:pt modelId="{3AFA0C75-3222-4C16-A868-72D9BE7B778C}">
      <dgm:prSet custT="1"/>
      <dgm:spPr/>
      <dgm:t>
        <a:bodyPr/>
        <a:lstStyle/>
        <a:p>
          <a:r>
            <a:rPr lang="en-US" sz="1400" b="0" i="0" u="none" smtClean="0"/>
            <a:t>Namespaces</a:t>
          </a:r>
          <a:endParaRPr lang="en-US" sz="1400" dirty="0"/>
        </a:p>
      </dgm:t>
    </dgm:pt>
    <dgm:pt modelId="{B007FB07-4E9E-4B19-933E-6AA3F71D212A}" type="parTrans" cxnId="{4513D5CE-4ECE-4829-BAF8-E22C07C0E89D}">
      <dgm:prSet/>
      <dgm:spPr/>
      <dgm:t>
        <a:bodyPr/>
        <a:lstStyle/>
        <a:p>
          <a:endParaRPr lang="en-US" sz="1400"/>
        </a:p>
      </dgm:t>
    </dgm:pt>
    <dgm:pt modelId="{6C791243-3905-4312-ACF0-5E6E52447793}" type="sibTrans" cxnId="{4513D5CE-4ECE-4829-BAF8-E22C07C0E89D}">
      <dgm:prSet/>
      <dgm:spPr/>
      <dgm:t>
        <a:bodyPr/>
        <a:lstStyle/>
        <a:p>
          <a:endParaRPr lang="en-US" sz="1400"/>
        </a:p>
      </dgm:t>
    </dgm:pt>
    <dgm:pt modelId="{D51DA9A7-FC27-491D-9350-B648CB1E3BF0}">
      <dgm:prSet custT="1"/>
      <dgm:spPr/>
      <dgm:t>
        <a:bodyPr/>
        <a:lstStyle/>
        <a:p>
          <a:r>
            <a:rPr lang="en-US" sz="1400" b="0" i="0" u="none" smtClean="0"/>
            <a:t>Opacity</a:t>
          </a:r>
          <a:endParaRPr lang="en-US" sz="1400" dirty="0"/>
        </a:p>
      </dgm:t>
    </dgm:pt>
    <dgm:pt modelId="{D9800C95-1E1A-4E4F-BF9F-80442F5BBB7B}" type="parTrans" cxnId="{641A2993-ADB8-4EC9-BA95-2053A76A1396}">
      <dgm:prSet/>
      <dgm:spPr/>
      <dgm:t>
        <a:bodyPr/>
        <a:lstStyle/>
        <a:p>
          <a:endParaRPr lang="en-US" sz="1400"/>
        </a:p>
      </dgm:t>
    </dgm:pt>
    <dgm:pt modelId="{1DFD674E-4ABB-4209-B4C6-968CC75D6429}" type="sibTrans" cxnId="{641A2993-ADB8-4EC9-BA95-2053A76A1396}">
      <dgm:prSet/>
      <dgm:spPr/>
      <dgm:t>
        <a:bodyPr/>
        <a:lstStyle/>
        <a:p>
          <a:endParaRPr lang="en-US" sz="1400"/>
        </a:p>
      </dgm:t>
    </dgm:pt>
    <dgm:pt modelId="{FA0FC92D-FC8F-4F6C-89AC-5E397C92343E}">
      <dgm:prSet custT="1"/>
      <dgm:spPr/>
      <dgm:t>
        <a:bodyPr/>
        <a:lstStyle/>
        <a:p>
          <a:r>
            <a:rPr lang="en-US" sz="1400" b="0" i="0" u="none" smtClean="0"/>
            <a:t>rgba(), hsl(), hsla()</a:t>
          </a:r>
          <a:endParaRPr lang="en-US" sz="1400" dirty="0"/>
        </a:p>
      </dgm:t>
    </dgm:pt>
    <dgm:pt modelId="{6F35A530-358D-4920-BC81-9B7F8A4B32D6}" type="parTrans" cxnId="{17BED6B3-A2CF-4A34-A766-B909EB034418}">
      <dgm:prSet/>
      <dgm:spPr/>
      <dgm:t>
        <a:bodyPr/>
        <a:lstStyle/>
        <a:p>
          <a:endParaRPr lang="en-US" sz="1400"/>
        </a:p>
      </dgm:t>
    </dgm:pt>
    <dgm:pt modelId="{D4A6CD50-5C32-418F-8FEF-AC0E777365C5}" type="sibTrans" cxnId="{17BED6B3-A2CF-4A34-A766-B909EB034418}">
      <dgm:prSet/>
      <dgm:spPr/>
      <dgm:t>
        <a:bodyPr/>
        <a:lstStyle/>
        <a:p>
          <a:endParaRPr lang="en-US" sz="1400"/>
        </a:p>
      </dgm:t>
    </dgm:pt>
    <dgm:pt modelId="{80164E09-6A65-47EC-B709-7BE656539DB1}">
      <dgm:prSet custT="1"/>
      <dgm:spPr/>
      <dgm:t>
        <a:bodyPr/>
        <a:lstStyle/>
        <a:p>
          <a:r>
            <a:rPr lang="en-US" sz="1400" b="0" i="0" u="none" smtClean="0"/>
            <a:t>Selectors </a:t>
          </a:r>
          <a:r>
            <a:rPr lang="en-US" sz="1400" b="0" i="1" u="none" smtClean="0"/>
            <a:t>(IE8)</a:t>
          </a:r>
          <a:endParaRPr lang="en-US" sz="1400" i="1" dirty="0"/>
        </a:p>
      </dgm:t>
    </dgm:pt>
    <dgm:pt modelId="{0E672987-16EA-4E99-A928-FC5ABF3BA54A}" type="parTrans" cxnId="{0CD74EF8-3BD7-489F-8680-B725FE38DC84}">
      <dgm:prSet/>
      <dgm:spPr/>
      <dgm:t>
        <a:bodyPr/>
        <a:lstStyle/>
        <a:p>
          <a:endParaRPr lang="en-US" sz="1400"/>
        </a:p>
      </dgm:t>
    </dgm:pt>
    <dgm:pt modelId="{927AC845-7337-4336-BAE4-39DFA15F6228}" type="sibTrans" cxnId="{0CD74EF8-3BD7-489F-8680-B725FE38DC84}">
      <dgm:prSet/>
      <dgm:spPr/>
      <dgm:t>
        <a:bodyPr/>
        <a:lstStyle/>
        <a:p>
          <a:endParaRPr lang="en-US" sz="1400"/>
        </a:p>
      </dgm:t>
    </dgm:pt>
    <dgm:pt modelId="{8369132E-40A3-4B90-9695-E9CBC1830C2A}">
      <dgm:prSet custT="1"/>
      <dgm:spPr/>
      <dgm:t>
        <a:bodyPr/>
        <a:lstStyle/>
        <a:p>
          <a:pPr rtl="0"/>
          <a:r>
            <a:rPr lang="en-US" sz="1400" b="0" i="0" smtClean="0"/>
            <a:t>Clipping, Masking, and Compositing</a:t>
          </a:r>
          <a:endParaRPr lang="en-US" sz="1400" dirty="0"/>
        </a:p>
      </dgm:t>
    </dgm:pt>
    <dgm:pt modelId="{24A2E486-DB45-4D62-A859-6EDD4B305D87}" type="parTrans" cxnId="{EB8AD4BA-4B0A-4FE2-BB29-74C5AE7F2531}">
      <dgm:prSet/>
      <dgm:spPr/>
      <dgm:t>
        <a:bodyPr/>
        <a:lstStyle/>
        <a:p>
          <a:endParaRPr lang="en-US" sz="1400"/>
        </a:p>
      </dgm:t>
    </dgm:pt>
    <dgm:pt modelId="{B1B6ECF0-67FB-48A4-97D0-88401B364D34}" type="sibTrans" cxnId="{EB8AD4BA-4B0A-4FE2-BB29-74C5AE7F2531}">
      <dgm:prSet/>
      <dgm:spPr/>
      <dgm:t>
        <a:bodyPr/>
        <a:lstStyle/>
        <a:p>
          <a:endParaRPr lang="en-US" sz="1400"/>
        </a:p>
      </dgm:t>
    </dgm:pt>
    <dgm:pt modelId="{207DB18A-6AB7-4245-85E7-3EF8CB4977A9}">
      <dgm:prSet custT="1"/>
      <dgm:spPr/>
      <dgm:t>
        <a:bodyPr/>
        <a:lstStyle/>
        <a:p>
          <a:pPr rtl="0"/>
          <a:r>
            <a:rPr lang="en-US" sz="1400" b="0" i="0" smtClean="0"/>
            <a:t>Transforms</a:t>
          </a:r>
          <a:endParaRPr lang="en-US" sz="1400" dirty="0"/>
        </a:p>
      </dgm:t>
    </dgm:pt>
    <dgm:pt modelId="{B75097A2-B901-4D92-AD3F-F986FAFB104B}" type="parTrans" cxnId="{74EFAE2A-F6BC-4185-A592-825FAC2DFC53}">
      <dgm:prSet/>
      <dgm:spPr/>
      <dgm:t>
        <a:bodyPr/>
        <a:lstStyle/>
        <a:p>
          <a:endParaRPr lang="en-US" sz="1400"/>
        </a:p>
      </dgm:t>
    </dgm:pt>
    <dgm:pt modelId="{7CC468E6-7509-4679-B698-BB0337D87CB0}" type="sibTrans" cxnId="{74EFAE2A-F6BC-4185-A592-825FAC2DFC53}">
      <dgm:prSet/>
      <dgm:spPr/>
      <dgm:t>
        <a:bodyPr/>
        <a:lstStyle/>
        <a:p>
          <a:endParaRPr lang="en-US" sz="1400"/>
        </a:p>
      </dgm:t>
    </dgm:pt>
    <dgm:pt modelId="{539C3C8D-0097-4971-A4F3-0685E6FE8256}">
      <dgm:prSet custT="1"/>
      <dgm:spPr/>
      <dgm:t>
        <a:bodyPr/>
        <a:lstStyle/>
        <a:p>
          <a:pPr rtl="0"/>
          <a:r>
            <a:rPr lang="en-US" sz="1400" b="0" i="0" smtClean="0"/>
            <a:t>Extensibility</a:t>
          </a:r>
          <a:endParaRPr lang="en-US" sz="1400" dirty="0"/>
        </a:p>
      </dgm:t>
    </dgm:pt>
    <dgm:pt modelId="{E333B6DE-9BCD-48EF-B1B9-21087464F81D}" type="parTrans" cxnId="{EC661C49-FAD9-4A06-82D4-F9690AE5D210}">
      <dgm:prSet/>
      <dgm:spPr/>
      <dgm:t>
        <a:bodyPr/>
        <a:lstStyle/>
        <a:p>
          <a:endParaRPr lang="en-US" sz="1400"/>
        </a:p>
      </dgm:t>
    </dgm:pt>
    <dgm:pt modelId="{7953A72D-D8EB-46B2-AC7A-EEDE73323534}" type="sibTrans" cxnId="{EC661C49-FAD9-4A06-82D4-F9690AE5D210}">
      <dgm:prSet/>
      <dgm:spPr/>
      <dgm:t>
        <a:bodyPr/>
        <a:lstStyle/>
        <a:p>
          <a:endParaRPr lang="en-US" sz="1400"/>
        </a:p>
      </dgm:t>
    </dgm:pt>
    <dgm:pt modelId="{9194493A-97AE-4432-81FA-6710DC260844}">
      <dgm:prSet custT="1"/>
      <dgm:spPr/>
      <dgm:t>
        <a:bodyPr/>
        <a:lstStyle/>
        <a:p>
          <a:pPr rtl="0"/>
          <a:r>
            <a:rPr lang="en-US" sz="1400" b="0" i="0" smtClean="0"/>
            <a:t>Gradients</a:t>
          </a:r>
          <a:endParaRPr lang="en-US" sz="1400" dirty="0"/>
        </a:p>
      </dgm:t>
    </dgm:pt>
    <dgm:pt modelId="{8B17912B-4A30-43AC-803D-3E5C91320E32}" type="parTrans" cxnId="{39CEFA98-1714-4E3E-86DE-C0C30438B11A}">
      <dgm:prSet/>
      <dgm:spPr/>
      <dgm:t>
        <a:bodyPr/>
        <a:lstStyle/>
        <a:p>
          <a:endParaRPr lang="en-US" sz="1400"/>
        </a:p>
      </dgm:t>
    </dgm:pt>
    <dgm:pt modelId="{8D607D00-2C79-4367-B9CC-7836B9F8E2EB}" type="sibTrans" cxnId="{39CEFA98-1714-4E3E-86DE-C0C30438B11A}">
      <dgm:prSet/>
      <dgm:spPr/>
      <dgm:t>
        <a:bodyPr/>
        <a:lstStyle/>
        <a:p>
          <a:endParaRPr lang="en-US" sz="1400"/>
        </a:p>
      </dgm:t>
    </dgm:pt>
    <dgm:pt modelId="{F7348670-27B1-4631-B0F9-AFE1D2FE4D84}">
      <dgm:prSet custT="1"/>
      <dgm:spPr/>
      <dgm:t>
        <a:bodyPr/>
        <a:lstStyle/>
        <a:p>
          <a:pPr rtl="0"/>
          <a:r>
            <a:rPr lang="en-US" sz="1400" b="0" i="0" dirty="0" smtClean="0"/>
            <a:t>Interactivity</a:t>
          </a:r>
          <a:endParaRPr lang="en-US" sz="1400" dirty="0"/>
        </a:p>
      </dgm:t>
    </dgm:pt>
    <dgm:pt modelId="{BA019F35-A74C-4CE3-99BF-690A4688F83A}" type="parTrans" cxnId="{8C3CBF64-E317-4EA1-8050-0973E8116B1D}">
      <dgm:prSet/>
      <dgm:spPr/>
      <dgm:t>
        <a:bodyPr/>
        <a:lstStyle/>
        <a:p>
          <a:endParaRPr lang="en-US" sz="1400"/>
        </a:p>
      </dgm:t>
    </dgm:pt>
    <dgm:pt modelId="{06C32D79-A05B-414B-937D-F67A78F395B2}" type="sibTrans" cxnId="{8C3CBF64-E317-4EA1-8050-0973E8116B1D}">
      <dgm:prSet/>
      <dgm:spPr/>
      <dgm:t>
        <a:bodyPr/>
        <a:lstStyle/>
        <a:p>
          <a:endParaRPr lang="en-US" sz="1400"/>
        </a:p>
      </dgm:t>
    </dgm:pt>
    <dgm:pt modelId="{D1B26C49-47C5-4EA0-AA64-B47E7968DA36}">
      <dgm:prSet custT="1"/>
      <dgm:spPr/>
      <dgm:t>
        <a:bodyPr/>
        <a:lstStyle/>
        <a:p>
          <a:pPr rtl="0"/>
          <a:r>
            <a:rPr lang="en-US" sz="1400" b="0" i="0" smtClean="0"/>
            <a:t>Linking and Views</a:t>
          </a:r>
          <a:endParaRPr lang="en-US" sz="1400" dirty="0"/>
        </a:p>
      </dgm:t>
    </dgm:pt>
    <dgm:pt modelId="{51528BD8-9E9E-4969-BD1B-24BC9D7B76C4}" type="parTrans" cxnId="{9CB9A66B-CC42-47C7-8D6B-03E83D91A00D}">
      <dgm:prSet/>
      <dgm:spPr/>
      <dgm:t>
        <a:bodyPr/>
        <a:lstStyle/>
        <a:p>
          <a:endParaRPr lang="en-US" sz="1400"/>
        </a:p>
      </dgm:t>
    </dgm:pt>
    <dgm:pt modelId="{75865CC0-493C-4DCC-8C24-B2F0EF6C9CF7}" type="sibTrans" cxnId="{9CB9A66B-CC42-47C7-8D6B-03E83D91A00D}">
      <dgm:prSet/>
      <dgm:spPr/>
      <dgm:t>
        <a:bodyPr/>
        <a:lstStyle/>
        <a:p>
          <a:endParaRPr lang="en-US" sz="1400"/>
        </a:p>
      </dgm:t>
    </dgm:pt>
    <dgm:pt modelId="{FDA1E1BA-7F03-4723-8D3C-5F31F1B6D8B0}">
      <dgm:prSet custT="1"/>
      <dgm:spPr/>
      <dgm:t>
        <a:bodyPr/>
        <a:lstStyle/>
        <a:p>
          <a:pPr rtl="0"/>
          <a:r>
            <a:rPr lang="en-US" sz="1400" b="0" i="0" dirty="0" smtClean="0"/>
            <a:t>Painting and Colors</a:t>
          </a:r>
          <a:endParaRPr lang="en-US" sz="1400" dirty="0"/>
        </a:p>
      </dgm:t>
    </dgm:pt>
    <dgm:pt modelId="{D6943D1B-32FB-43F8-BCFA-B755A3869B7A}" type="parTrans" cxnId="{85CE1C6C-A96D-4414-9AFC-39A61FD3992A}">
      <dgm:prSet/>
      <dgm:spPr/>
      <dgm:t>
        <a:bodyPr/>
        <a:lstStyle/>
        <a:p>
          <a:endParaRPr lang="en-US" sz="1400"/>
        </a:p>
      </dgm:t>
    </dgm:pt>
    <dgm:pt modelId="{E3A54A2C-7733-4E81-80EF-A012DADA5074}" type="sibTrans" cxnId="{85CE1C6C-A96D-4414-9AFC-39A61FD3992A}">
      <dgm:prSet/>
      <dgm:spPr/>
      <dgm:t>
        <a:bodyPr/>
        <a:lstStyle/>
        <a:p>
          <a:endParaRPr lang="en-US" sz="1400"/>
        </a:p>
      </dgm:t>
    </dgm:pt>
    <dgm:pt modelId="{2DAFC5ED-8A6F-40CF-A0CB-5B6E3BD1F402}">
      <dgm:prSet custT="1"/>
      <dgm:spPr/>
      <dgm:t>
        <a:bodyPr/>
        <a:lstStyle/>
        <a:p>
          <a:pPr rtl="0"/>
          <a:r>
            <a:rPr lang="en-US" sz="1400" b="0" i="0" smtClean="0"/>
            <a:t>Paths</a:t>
          </a:r>
          <a:endParaRPr lang="en-US" sz="1400" dirty="0"/>
        </a:p>
      </dgm:t>
    </dgm:pt>
    <dgm:pt modelId="{439D89E6-BE07-4FD1-A770-1C06F48420AC}" type="parTrans" cxnId="{41271ADD-971B-410F-8D61-C997B0126D0B}">
      <dgm:prSet/>
      <dgm:spPr/>
      <dgm:t>
        <a:bodyPr/>
        <a:lstStyle/>
        <a:p>
          <a:endParaRPr lang="en-US" sz="1400"/>
        </a:p>
      </dgm:t>
    </dgm:pt>
    <dgm:pt modelId="{13405103-2FD5-4EB6-994C-A2577654BB6A}" type="sibTrans" cxnId="{41271ADD-971B-410F-8D61-C997B0126D0B}">
      <dgm:prSet/>
      <dgm:spPr/>
      <dgm:t>
        <a:bodyPr/>
        <a:lstStyle/>
        <a:p>
          <a:endParaRPr lang="en-US" sz="1400"/>
        </a:p>
      </dgm:t>
    </dgm:pt>
    <dgm:pt modelId="{B79EC427-B9D1-4742-86A1-9EC9A383BFA1}">
      <dgm:prSet custT="1"/>
      <dgm:spPr/>
      <dgm:t>
        <a:bodyPr/>
        <a:lstStyle/>
        <a:p>
          <a:pPr rtl="0"/>
          <a:r>
            <a:rPr lang="en-US" sz="1400" b="0" i="0" smtClean="0"/>
            <a:t>Text</a:t>
          </a:r>
          <a:endParaRPr lang="en-US" sz="1400" dirty="0"/>
        </a:p>
      </dgm:t>
    </dgm:pt>
    <dgm:pt modelId="{4B4ECE19-DBBB-4565-91E3-2612EE3E7FCE}" type="parTrans" cxnId="{EE7A3FC3-EA00-4973-BA96-DBCB70408C70}">
      <dgm:prSet/>
      <dgm:spPr/>
      <dgm:t>
        <a:bodyPr/>
        <a:lstStyle/>
        <a:p>
          <a:endParaRPr lang="en-US" sz="1400"/>
        </a:p>
      </dgm:t>
    </dgm:pt>
    <dgm:pt modelId="{0ED21363-0FAF-4F32-A5BA-6AD8A5B7D5E0}" type="sibTrans" cxnId="{EE7A3FC3-EA00-4973-BA96-DBCB70408C70}">
      <dgm:prSet/>
      <dgm:spPr/>
      <dgm:t>
        <a:bodyPr/>
        <a:lstStyle/>
        <a:p>
          <a:endParaRPr lang="en-US" sz="1400"/>
        </a:p>
      </dgm:t>
    </dgm:pt>
    <dgm:pt modelId="{E19D8D9C-F971-42A6-AA3C-371E095B3D5A}">
      <dgm:prSet phldrT="[Text]" custT="1"/>
      <dgm:spPr/>
      <dgm:t>
        <a:bodyPr/>
        <a:lstStyle/>
        <a:p>
          <a:pPr rtl="0"/>
          <a:r>
            <a:rPr lang="en-US" sz="1400" b="0" i="0" dirty="0" smtClean="0"/>
            <a:t>ECMA Script 5 </a:t>
          </a:r>
          <a:br>
            <a:rPr lang="en-US" sz="1400" b="0" i="0" dirty="0" smtClean="0"/>
          </a:br>
          <a:r>
            <a:rPr lang="en-US" sz="1400" b="0" i="0" dirty="0" smtClean="0"/>
            <a:t>(all but Strict Mode)</a:t>
          </a:r>
          <a:endParaRPr lang="en-US" sz="1400" dirty="0"/>
        </a:p>
      </dgm:t>
    </dgm:pt>
    <dgm:pt modelId="{F2A129A1-5A1F-4395-A5BF-D181C640EB07}" type="parTrans" cxnId="{1C2FD602-B7C2-4B3A-A779-68AA1EB2C908}">
      <dgm:prSet/>
      <dgm:spPr/>
      <dgm:t>
        <a:bodyPr/>
        <a:lstStyle/>
        <a:p>
          <a:endParaRPr lang="en-US" sz="1400"/>
        </a:p>
      </dgm:t>
    </dgm:pt>
    <dgm:pt modelId="{0A3F6AEB-5284-43E7-B111-4D1718D0DCB7}" type="sibTrans" cxnId="{1C2FD602-B7C2-4B3A-A779-68AA1EB2C908}">
      <dgm:prSet/>
      <dgm:spPr/>
      <dgm:t>
        <a:bodyPr/>
        <a:lstStyle/>
        <a:p>
          <a:endParaRPr lang="en-US" sz="1400"/>
        </a:p>
      </dgm:t>
    </dgm:pt>
    <dgm:pt modelId="{6044C85D-BB86-447D-B8D2-D4B86950D76D}">
      <dgm:prSet custT="1"/>
      <dgm:spPr/>
      <dgm:t>
        <a:bodyPr/>
        <a:lstStyle/>
        <a:p>
          <a:pPr rtl="0"/>
          <a:r>
            <a:rPr lang="en-US" sz="1400" dirty="0" smtClean="0"/>
            <a:t>Native JSON support</a:t>
          </a:r>
          <a:endParaRPr lang="en-US" sz="1400" dirty="0"/>
        </a:p>
      </dgm:t>
    </dgm:pt>
    <dgm:pt modelId="{37EE3493-7B48-4F5B-B708-0329AC063452}" type="parTrans" cxnId="{EA54160A-127A-455F-BE7F-4218440BE4FE}">
      <dgm:prSet/>
      <dgm:spPr/>
      <dgm:t>
        <a:bodyPr/>
        <a:lstStyle/>
        <a:p>
          <a:endParaRPr lang="en-US" sz="1400"/>
        </a:p>
      </dgm:t>
    </dgm:pt>
    <dgm:pt modelId="{2C1B972B-593A-47F1-BBEC-8F3F9CD990C4}" type="sibTrans" cxnId="{EA54160A-127A-455F-BE7F-4218440BE4FE}">
      <dgm:prSet/>
      <dgm:spPr/>
      <dgm:t>
        <a:bodyPr/>
        <a:lstStyle/>
        <a:p>
          <a:endParaRPr lang="en-US" sz="1400"/>
        </a:p>
      </dgm:t>
    </dgm:pt>
    <dgm:pt modelId="{7017ACF8-B613-4696-94BC-48BC343C3896}">
      <dgm:prSet custT="1"/>
      <dgm:spPr/>
      <dgm:t>
        <a:bodyPr/>
        <a:lstStyle/>
        <a:p>
          <a:pPr rtl="0"/>
          <a:r>
            <a:rPr lang="en-US" sz="1400" b="0" i="0" dirty="0" smtClean="0"/>
            <a:t>Performance API</a:t>
          </a:r>
          <a:endParaRPr lang="en-US" sz="1400" dirty="0"/>
        </a:p>
      </dgm:t>
    </dgm:pt>
    <dgm:pt modelId="{1BD64A2B-25A2-484C-83F9-E61345A9848A}" type="parTrans" cxnId="{DD5C2C7F-35BF-41A5-8549-A682BEE9605D}">
      <dgm:prSet/>
      <dgm:spPr/>
      <dgm:t>
        <a:bodyPr/>
        <a:lstStyle/>
        <a:p>
          <a:endParaRPr lang="en-US" sz="1400"/>
        </a:p>
      </dgm:t>
    </dgm:pt>
    <dgm:pt modelId="{2F85B70A-A309-4A61-8EEE-FA9184A22EEF}" type="sibTrans" cxnId="{DD5C2C7F-35BF-41A5-8549-A682BEE9605D}">
      <dgm:prSet/>
      <dgm:spPr/>
      <dgm:t>
        <a:bodyPr/>
        <a:lstStyle/>
        <a:p>
          <a:endParaRPr lang="en-US" sz="1400"/>
        </a:p>
      </dgm:t>
    </dgm:pt>
    <dgm:pt modelId="{4FD808F9-AE22-4F8F-AD37-C283743B421A}">
      <dgm:prSet custT="1"/>
      <dgm:spPr/>
      <dgm:t>
        <a:bodyPr/>
        <a:lstStyle/>
        <a:p>
          <a:pPr rtl="0"/>
          <a:r>
            <a:rPr lang="en-US" sz="1400" b="0" i="0" dirty="0" smtClean="0"/>
            <a:t>Geo-Location</a:t>
          </a:r>
          <a:endParaRPr lang="en-US" sz="1400" dirty="0"/>
        </a:p>
      </dgm:t>
    </dgm:pt>
    <dgm:pt modelId="{5292B616-2360-4DD9-BDB7-05B9317750B7}" type="parTrans" cxnId="{311AF766-7440-40F3-81B7-7D68BDAFA3D3}">
      <dgm:prSet/>
      <dgm:spPr/>
      <dgm:t>
        <a:bodyPr/>
        <a:lstStyle/>
        <a:p>
          <a:endParaRPr lang="en-US" sz="1400"/>
        </a:p>
      </dgm:t>
    </dgm:pt>
    <dgm:pt modelId="{21D641CE-7ECE-4E73-B293-8BB06D45D1A3}" type="sibTrans" cxnId="{311AF766-7440-40F3-81B7-7D68BDAFA3D3}">
      <dgm:prSet/>
      <dgm:spPr/>
      <dgm:t>
        <a:bodyPr/>
        <a:lstStyle/>
        <a:p>
          <a:endParaRPr lang="en-US" sz="1400"/>
        </a:p>
      </dgm:t>
    </dgm:pt>
    <dgm:pt modelId="{E1A5B0DC-79C8-4BDE-89B5-84EA5BA592C9}">
      <dgm:prSet custT="1"/>
      <dgm:spPr/>
      <dgm:t>
        <a:bodyPr/>
        <a:lstStyle/>
        <a:p>
          <a:pPr rtl="0"/>
          <a:r>
            <a:rPr lang="en-US" sz="1400" b="0" i="0" dirty="0" smtClean="0"/>
            <a:t>Data-</a:t>
          </a:r>
          <a:r>
            <a:rPr lang="en-US" sz="1400" b="0" i="0" dirty="0" err="1" smtClean="0"/>
            <a:t>uri</a:t>
          </a:r>
          <a:r>
            <a:rPr lang="en-US" sz="1400" b="0" i="0" dirty="0" smtClean="0"/>
            <a:t> </a:t>
          </a:r>
          <a:r>
            <a:rPr lang="en-US" sz="1400" b="0" i="1" u="none" dirty="0" smtClean="0"/>
            <a:t>(IE8)</a:t>
          </a:r>
          <a:endParaRPr lang="en-US" sz="1400" dirty="0"/>
        </a:p>
      </dgm:t>
    </dgm:pt>
    <dgm:pt modelId="{7C85A697-3215-4C6B-9998-67DB8D8C292F}" type="parTrans" cxnId="{C3F86AF4-B05D-4BC4-9888-0DF7CA74B82A}">
      <dgm:prSet/>
      <dgm:spPr/>
      <dgm:t>
        <a:bodyPr/>
        <a:lstStyle/>
        <a:p>
          <a:endParaRPr lang="en-US" sz="1400"/>
        </a:p>
      </dgm:t>
    </dgm:pt>
    <dgm:pt modelId="{59E326FE-3828-46E9-81D9-1168EED17777}" type="sibTrans" cxnId="{C3F86AF4-B05D-4BC4-9888-0DF7CA74B82A}">
      <dgm:prSet/>
      <dgm:spPr/>
      <dgm:t>
        <a:bodyPr/>
        <a:lstStyle/>
        <a:p>
          <a:endParaRPr lang="en-US" sz="1400"/>
        </a:p>
      </dgm:t>
    </dgm:pt>
    <dgm:pt modelId="{6213A07F-10D0-4D86-9616-FC300867C780}">
      <dgm:prSet custT="1"/>
      <dgm:spPr/>
      <dgm:t>
        <a:bodyPr/>
        <a:lstStyle/>
        <a:p>
          <a:pPr rtl="0"/>
          <a:r>
            <a:rPr lang="en-US" sz="1400" b="0" i="0" dirty="0" smtClean="0"/>
            <a:t>DOM L2, L3</a:t>
          </a:r>
          <a:endParaRPr lang="en-US" sz="1400" dirty="0"/>
        </a:p>
      </dgm:t>
    </dgm:pt>
    <dgm:pt modelId="{7969BCC4-00A7-47F9-A625-943EB0985B9E}" type="parTrans" cxnId="{9EE74399-86F3-4608-835F-1E0CF28350EE}">
      <dgm:prSet/>
      <dgm:spPr/>
      <dgm:t>
        <a:bodyPr/>
        <a:lstStyle/>
        <a:p>
          <a:endParaRPr lang="en-US" sz="1400"/>
        </a:p>
      </dgm:t>
    </dgm:pt>
    <dgm:pt modelId="{FFA69317-A6C2-4DA5-80BC-91CC924158D7}" type="sibTrans" cxnId="{9EE74399-86F3-4608-835F-1E0CF28350EE}">
      <dgm:prSet/>
      <dgm:spPr/>
      <dgm:t>
        <a:bodyPr/>
        <a:lstStyle/>
        <a:p>
          <a:endParaRPr lang="en-US" sz="1400"/>
        </a:p>
      </dgm:t>
    </dgm:pt>
    <dgm:pt modelId="{BDE0AA92-E7B4-42EE-A278-360B39CF51DB}">
      <dgm:prSet custT="1"/>
      <dgm:spPr/>
      <dgm:t>
        <a:bodyPr/>
        <a:lstStyle/>
        <a:p>
          <a:pPr rtl="0"/>
          <a:r>
            <a:rPr lang="en-US" sz="1400" dirty="0" smtClean="0"/>
            <a:t>Selectors API L2 </a:t>
          </a:r>
          <a:endParaRPr lang="en-US" sz="1400" dirty="0"/>
        </a:p>
      </dgm:t>
    </dgm:pt>
    <dgm:pt modelId="{796C2260-38E7-4494-A5D0-8830157E1AE2}" type="parTrans" cxnId="{B89DFD38-CB84-433B-8539-1FD3B6B42869}">
      <dgm:prSet/>
      <dgm:spPr/>
      <dgm:t>
        <a:bodyPr/>
        <a:lstStyle/>
        <a:p>
          <a:endParaRPr lang="en-US" sz="1400"/>
        </a:p>
      </dgm:t>
    </dgm:pt>
    <dgm:pt modelId="{67EB4432-9B0E-4088-8859-46AF35D52B82}" type="sibTrans" cxnId="{B89DFD38-CB84-433B-8539-1FD3B6B42869}">
      <dgm:prSet/>
      <dgm:spPr/>
      <dgm:t>
        <a:bodyPr/>
        <a:lstStyle/>
        <a:p>
          <a:endParaRPr lang="en-US" sz="1400"/>
        </a:p>
      </dgm:t>
    </dgm:pt>
    <dgm:pt modelId="{42F679F2-7984-4AA3-97CE-11A2A5082134}">
      <dgm:prSet custT="1"/>
      <dgm:spPr/>
      <dgm:t>
        <a:bodyPr/>
        <a:lstStyle/>
        <a:p>
          <a:pPr rtl="0"/>
          <a:r>
            <a:rPr lang="en-US" sz="1400" dirty="0" smtClean="0"/>
            <a:t>AJAX Navigation</a:t>
          </a:r>
          <a:endParaRPr lang="en-US" sz="1400" dirty="0"/>
        </a:p>
      </dgm:t>
    </dgm:pt>
    <dgm:pt modelId="{B95022F5-D29B-48F4-908E-D3AF133F32D9}" type="parTrans" cxnId="{46AC9DBB-89A5-4528-8FFE-1C02900946EC}">
      <dgm:prSet/>
      <dgm:spPr/>
      <dgm:t>
        <a:bodyPr/>
        <a:lstStyle/>
        <a:p>
          <a:endParaRPr lang="en-US" sz="1400"/>
        </a:p>
      </dgm:t>
    </dgm:pt>
    <dgm:pt modelId="{E5C28BC5-F043-4505-A55B-09D4D1AF2C43}" type="sibTrans" cxnId="{46AC9DBB-89A5-4528-8FFE-1C02900946EC}">
      <dgm:prSet/>
      <dgm:spPr/>
      <dgm:t>
        <a:bodyPr/>
        <a:lstStyle/>
        <a:p>
          <a:endParaRPr lang="en-US" sz="1400"/>
        </a:p>
      </dgm:t>
    </dgm:pt>
    <dgm:pt modelId="{0217A8F9-E9E7-4417-B79A-01FE6886A0E0}">
      <dgm:prSet custT="1"/>
      <dgm:spPr/>
      <dgm:t>
        <a:bodyPr/>
        <a:lstStyle/>
        <a:p>
          <a:pPr rtl="0"/>
          <a:r>
            <a:rPr lang="en-US" sz="1400" b="0" i="0" dirty="0" err="1" smtClean="0"/>
            <a:t>DOMParser</a:t>
          </a:r>
          <a:r>
            <a:rPr lang="en-US" sz="1400" b="0" i="0" dirty="0" smtClean="0"/>
            <a:t> and </a:t>
          </a:r>
          <a:r>
            <a:rPr lang="en-US" sz="1400" b="0" i="0" dirty="0" err="1" smtClean="0"/>
            <a:t>XMLSerializer</a:t>
          </a:r>
          <a:endParaRPr lang="en-US" sz="1400" dirty="0"/>
        </a:p>
      </dgm:t>
    </dgm:pt>
    <dgm:pt modelId="{3D0DB573-BF59-4039-A38A-C33071D857FF}" type="parTrans" cxnId="{33758B35-7D2D-4534-B9B3-63129BB1498C}">
      <dgm:prSet/>
      <dgm:spPr/>
      <dgm:t>
        <a:bodyPr/>
        <a:lstStyle/>
        <a:p>
          <a:endParaRPr lang="en-US" sz="1400"/>
        </a:p>
      </dgm:t>
    </dgm:pt>
    <dgm:pt modelId="{5AC6996B-B220-4289-AC1A-0E4950F8A50D}" type="sibTrans" cxnId="{33758B35-7D2D-4534-B9B3-63129BB1498C}">
      <dgm:prSet/>
      <dgm:spPr/>
      <dgm:t>
        <a:bodyPr/>
        <a:lstStyle/>
        <a:p>
          <a:endParaRPr lang="en-US" sz="1400"/>
        </a:p>
      </dgm:t>
    </dgm:pt>
    <dgm:pt modelId="{9773A3B4-CA23-4D11-8D13-F6A069A25E84}">
      <dgm:prSet custT="1"/>
      <dgm:spPr/>
      <dgm:t>
        <a:bodyPr/>
        <a:lstStyle/>
        <a:p>
          <a:r>
            <a:rPr lang="en-US" sz="1400" b="0" i="0" dirty="0" smtClean="0"/>
            <a:t>ICC v2 and Color Profile</a:t>
          </a:r>
          <a:endParaRPr lang="en-US" sz="1400" dirty="0"/>
        </a:p>
      </dgm:t>
    </dgm:pt>
    <dgm:pt modelId="{A66F693C-6045-4DA8-8468-3D9DA86182ED}" type="parTrans" cxnId="{C6DD398D-D1F2-4A00-A8B1-8D514846CECB}">
      <dgm:prSet/>
      <dgm:spPr/>
      <dgm:t>
        <a:bodyPr/>
        <a:lstStyle/>
        <a:p>
          <a:endParaRPr lang="en-US" sz="1400"/>
        </a:p>
      </dgm:t>
    </dgm:pt>
    <dgm:pt modelId="{408C9501-F530-4FC6-BDF1-008128598D37}" type="sibTrans" cxnId="{C6DD398D-D1F2-4A00-A8B1-8D514846CECB}">
      <dgm:prSet/>
      <dgm:spPr/>
      <dgm:t>
        <a:bodyPr/>
        <a:lstStyle/>
        <a:p>
          <a:endParaRPr lang="en-US" sz="1400"/>
        </a:p>
      </dgm:t>
    </dgm:pt>
    <dgm:pt modelId="{61EF8D1B-D71E-4C59-BF81-76921B3BA2FC}">
      <dgm:prSet custT="1"/>
      <dgm:spPr/>
      <dgm:t>
        <a:bodyPr/>
        <a:lstStyle/>
        <a:p>
          <a:pPr rtl="0"/>
          <a:r>
            <a:rPr lang="en-US" sz="1400" dirty="0" smtClean="0"/>
            <a:t>ARIA</a:t>
          </a:r>
          <a:endParaRPr lang="en-US" sz="1400" dirty="0"/>
        </a:p>
      </dgm:t>
    </dgm:pt>
    <dgm:pt modelId="{37EF210A-7F96-41E5-8A8C-5AE7F4CC1AF6}" type="parTrans" cxnId="{BA7982B2-C4DA-4674-9486-5E731415FB01}">
      <dgm:prSet/>
      <dgm:spPr/>
      <dgm:t>
        <a:bodyPr/>
        <a:lstStyle/>
        <a:p>
          <a:endParaRPr lang="en-US" sz="1400"/>
        </a:p>
      </dgm:t>
    </dgm:pt>
    <dgm:pt modelId="{E1D20095-3C4A-4155-BBC0-0EE26D1EAF2F}" type="sibTrans" cxnId="{BA7982B2-C4DA-4674-9486-5E731415FB01}">
      <dgm:prSet/>
      <dgm:spPr/>
      <dgm:t>
        <a:bodyPr/>
        <a:lstStyle/>
        <a:p>
          <a:endParaRPr lang="en-US" sz="1400"/>
        </a:p>
      </dgm:t>
    </dgm:pt>
    <dgm:pt modelId="{643363C9-CE12-45CB-B688-AE2C466F414C}" type="pres">
      <dgm:prSet presAssocID="{8FBD89BA-7D94-4C4D-891E-8843441756E6}" presName="Name0" presStyleCnt="0">
        <dgm:presLayoutVars>
          <dgm:dir/>
          <dgm:animLvl val="lvl"/>
          <dgm:resizeHandles val="exact"/>
        </dgm:presLayoutVars>
      </dgm:prSet>
      <dgm:spPr/>
      <dgm:t>
        <a:bodyPr/>
        <a:lstStyle/>
        <a:p>
          <a:endParaRPr lang="en-US"/>
        </a:p>
      </dgm:t>
    </dgm:pt>
    <dgm:pt modelId="{8395C17C-6C2B-4A55-B94C-2C9873041E51}" type="pres">
      <dgm:prSet presAssocID="{74045906-B780-4139-AE4A-A6FE724B37EE}" presName="composite" presStyleCnt="0"/>
      <dgm:spPr/>
    </dgm:pt>
    <dgm:pt modelId="{1CB214E8-C0AE-4CCB-9EBB-6DD1162BCA3D}" type="pres">
      <dgm:prSet presAssocID="{74045906-B780-4139-AE4A-A6FE724B37EE}" presName="parTx" presStyleLbl="alignNode1" presStyleIdx="0" presStyleCnt="4" custScaleX="197091">
        <dgm:presLayoutVars>
          <dgm:chMax val="0"/>
          <dgm:chPref val="0"/>
          <dgm:bulletEnabled val="1"/>
        </dgm:presLayoutVars>
      </dgm:prSet>
      <dgm:spPr/>
      <dgm:t>
        <a:bodyPr/>
        <a:lstStyle/>
        <a:p>
          <a:endParaRPr lang="en-US"/>
        </a:p>
      </dgm:t>
    </dgm:pt>
    <dgm:pt modelId="{F05ECDCA-4924-4FC6-BC42-ECAFBC6E205E}" type="pres">
      <dgm:prSet presAssocID="{74045906-B780-4139-AE4A-A6FE724B37EE}" presName="desTx" presStyleLbl="alignAccFollowNode1" presStyleIdx="0" presStyleCnt="4" custScaleX="197091">
        <dgm:presLayoutVars>
          <dgm:bulletEnabled val="1"/>
        </dgm:presLayoutVars>
      </dgm:prSet>
      <dgm:spPr/>
      <dgm:t>
        <a:bodyPr/>
        <a:lstStyle/>
        <a:p>
          <a:endParaRPr lang="en-US"/>
        </a:p>
      </dgm:t>
    </dgm:pt>
    <dgm:pt modelId="{B2824C43-B53A-455E-A892-A6961C0E4E5F}" type="pres">
      <dgm:prSet presAssocID="{F04565A1-B352-4959-ABFF-C41FCA7D3AB2}" presName="space" presStyleCnt="0"/>
      <dgm:spPr/>
    </dgm:pt>
    <dgm:pt modelId="{9BA32845-EDEF-4412-8AA2-B0709B1BD41C}" type="pres">
      <dgm:prSet presAssocID="{AEC3390A-ED14-4F5D-8ECE-F9023C0DF904}" presName="composite" presStyleCnt="0"/>
      <dgm:spPr/>
    </dgm:pt>
    <dgm:pt modelId="{C81AC74B-C79B-418F-8FB2-9961ADB03524}" type="pres">
      <dgm:prSet presAssocID="{AEC3390A-ED14-4F5D-8ECE-F9023C0DF904}" presName="parTx" presStyleLbl="alignNode1" presStyleIdx="1" presStyleCnt="4" custScaleX="197091">
        <dgm:presLayoutVars>
          <dgm:chMax val="0"/>
          <dgm:chPref val="0"/>
          <dgm:bulletEnabled val="1"/>
        </dgm:presLayoutVars>
      </dgm:prSet>
      <dgm:spPr/>
      <dgm:t>
        <a:bodyPr/>
        <a:lstStyle/>
        <a:p>
          <a:endParaRPr lang="en-US"/>
        </a:p>
      </dgm:t>
    </dgm:pt>
    <dgm:pt modelId="{AB670AAA-15BF-4AFD-829B-DBF700002B2A}" type="pres">
      <dgm:prSet presAssocID="{AEC3390A-ED14-4F5D-8ECE-F9023C0DF904}" presName="desTx" presStyleLbl="alignAccFollowNode1" presStyleIdx="1" presStyleCnt="4" custScaleX="197091">
        <dgm:presLayoutVars>
          <dgm:bulletEnabled val="1"/>
        </dgm:presLayoutVars>
      </dgm:prSet>
      <dgm:spPr/>
      <dgm:t>
        <a:bodyPr/>
        <a:lstStyle/>
        <a:p>
          <a:endParaRPr lang="en-US"/>
        </a:p>
      </dgm:t>
    </dgm:pt>
    <dgm:pt modelId="{F9DF45D8-E589-4503-867E-40429F716E4A}" type="pres">
      <dgm:prSet presAssocID="{1A981393-9B0E-4EC2-9778-6A05223A30AC}" presName="space" presStyleCnt="0"/>
      <dgm:spPr/>
    </dgm:pt>
    <dgm:pt modelId="{E6D2BACC-6436-47AA-ADA2-765DD054C6FC}" type="pres">
      <dgm:prSet presAssocID="{CBFB4CA8-E9BD-47CD-A26C-C49B2D1FCFA5}" presName="composite" presStyleCnt="0"/>
      <dgm:spPr/>
    </dgm:pt>
    <dgm:pt modelId="{3D83538A-A4CB-47F6-B082-F02160AEA199}" type="pres">
      <dgm:prSet presAssocID="{CBFB4CA8-E9BD-47CD-A26C-C49B2D1FCFA5}" presName="parTx" presStyleLbl="alignNode1" presStyleIdx="2" presStyleCnt="4" custScaleX="197091">
        <dgm:presLayoutVars>
          <dgm:chMax val="0"/>
          <dgm:chPref val="0"/>
          <dgm:bulletEnabled val="1"/>
        </dgm:presLayoutVars>
      </dgm:prSet>
      <dgm:spPr/>
      <dgm:t>
        <a:bodyPr/>
        <a:lstStyle/>
        <a:p>
          <a:endParaRPr lang="en-US"/>
        </a:p>
      </dgm:t>
    </dgm:pt>
    <dgm:pt modelId="{2D3ECD94-3C0A-4A3F-86A8-BB20A78773B4}" type="pres">
      <dgm:prSet presAssocID="{CBFB4CA8-E9BD-47CD-A26C-C49B2D1FCFA5}" presName="desTx" presStyleLbl="alignAccFollowNode1" presStyleIdx="2" presStyleCnt="4" custScaleX="197091">
        <dgm:presLayoutVars>
          <dgm:bulletEnabled val="1"/>
        </dgm:presLayoutVars>
      </dgm:prSet>
      <dgm:spPr/>
      <dgm:t>
        <a:bodyPr/>
        <a:lstStyle/>
        <a:p>
          <a:endParaRPr lang="en-US"/>
        </a:p>
      </dgm:t>
    </dgm:pt>
    <dgm:pt modelId="{30309261-7D50-4F78-9A10-AB973061A022}" type="pres">
      <dgm:prSet presAssocID="{0DA76523-6997-4A90-9B36-F61FADF204CB}" presName="space" presStyleCnt="0"/>
      <dgm:spPr/>
    </dgm:pt>
    <dgm:pt modelId="{06D726FE-75A8-47CD-B4F8-EB21E0F0109D}" type="pres">
      <dgm:prSet presAssocID="{06BE6CC3-25D1-47E9-82AD-5F825510E3A4}" presName="composite" presStyleCnt="0"/>
      <dgm:spPr/>
    </dgm:pt>
    <dgm:pt modelId="{3D12BC2E-FFC3-481C-ACB3-898C590FAA0D}" type="pres">
      <dgm:prSet presAssocID="{06BE6CC3-25D1-47E9-82AD-5F825510E3A4}" presName="parTx" presStyleLbl="alignNode1" presStyleIdx="3" presStyleCnt="4" custScaleX="197091">
        <dgm:presLayoutVars>
          <dgm:chMax val="0"/>
          <dgm:chPref val="0"/>
          <dgm:bulletEnabled val="1"/>
        </dgm:presLayoutVars>
      </dgm:prSet>
      <dgm:spPr/>
      <dgm:t>
        <a:bodyPr/>
        <a:lstStyle/>
        <a:p>
          <a:endParaRPr lang="en-US"/>
        </a:p>
      </dgm:t>
    </dgm:pt>
    <dgm:pt modelId="{4EB2CFD1-85D0-4D76-A685-565692B7A604}" type="pres">
      <dgm:prSet presAssocID="{06BE6CC3-25D1-47E9-82AD-5F825510E3A4}" presName="desTx" presStyleLbl="alignAccFollowNode1" presStyleIdx="3" presStyleCnt="4" custScaleX="197091">
        <dgm:presLayoutVars>
          <dgm:bulletEnabled val="1"/>
        </dgm:presLayoutVars>
      </dgm:prSet>
      <dgm:spPr/>
      <dgm:t>
        <a:bodyPr/>
        <a:lstStyle/>
        <a:p>
          <a:endParaRPr lang="en-US"/>
        </a:p>
      </dgm:t>
    </dgm:pt>
  </dgm:ptLst>
  <dgm:cxnLst>
    <dgm:cxn modelId="{D69A18FA-9A50-4459-B4FC-09BEBD789111}" type="presOf" srcId="{42F679F2-7984-4AA3-97CE-11A2A5082134}" destId="{4EB2CFD1-85D0-4D76-A685-565692B7A604}" srcOrd="0" destOrd="7" presId="urn:microsoft.com/office/officeart/2005/8/layout/hList1"/>
    <dgm:cxn modelId="{DD5C2C7F-35BF-41A5-8549-A682BEE9605D}" srcId="{06BE6CC3-25D1-47E9-82AD-5F825510E3A4}" destId="{7017ACF8-B613-4696-94BC-48BC343C3896}" srcOrd="2" destOrd="0" parTransId="{1BD64A2B-25A2-484C-83F9-E61345A9848A}" sibTransId="{2F85B70A-A309-4A61-8EEE-FA9184A22EEF}"/>
    <dgm:cxn modelId="{E9E1D1FC-5CA8-4F82-9117-DFC4201C0C6F}" srcId="{AEC3390A-ED14-4F5D-8ECE-F9023C0DF904}" destId="{462D8A2F-813E-45D0-8ADF-DE86CBEE1DC9}" srcOrd="3" destOrd="0" parTransId="{57DA0CC2-5378-40B3-B806-2651939C680C}" sibTransId="{0A0D82BB-B736-4C52-AE82-8B3BDCDFCDC8}"/>
    <dgm:cxn modelId="{7D030729-9545-495C-B7C6-7C3318BC9FCA}" type="presOf" srcId="{D1B26C49-47C5-4EA0-AA64-B47E7968DA36}" destId="{2D3ECD94-3C0A-4A3F-86A8-BB20A78773B4}" srcOrd="0" destOrd="6" presId="urn:microsoft.com/office/officeart/2005/8/layout/hList1"/>
    <dgm:cxn modelId="{EAD4D8F2-CC79-42C0-9985-15730B06DACB}" type="presOf" srcId="{FDA1E1BA-7F03-4723-8D3C-5F31F1B6D8B0}" destId="{2D3ECD94-3C0A-4A3F-86A8-BB20A78773B4}" srcOrd="0" destOrd="7" presId="urn:microsoft.com/office/officeart/2005/8/layout/hList1"/>
    <dgm:cxn modelId="{46AC9DBB-89A5-4528-8FFE-1C02900946EC}" srcId="{06BE6CC3-25D1-47E9-82AD-5F825510E3A4}" destId="{42F679F2-7984-4AA3-97CE-11A2A5082134}" srcOrd="7" destOrd="0" parTransId="{B95022F5-D29B-48F4-908E-D3AF133F32D9}" sibTransId="{E5C28BC5-F043-4505-A55B-09D4D1AF2C43}"/>
    <dgm:cxn modelId="{46FCBFE8-E56C-4A48-A337-D15C0D7AA00B}" type="presOf" srcId="{FA0FC92D-FC8F-4F6C-89AC-5E397C92343E}" destId="{AB670AAA-15BF-4AFD-829B-DBF700002B2A}" srcOrd="0" destOrd="8" presId="urn:microsoft.com/office/officeart/2005/8/layout/hList1"/>
    <dgm:cxn modelId="{CAB6EE20-F076-4121-B276-9FA31694FA1B}" type="presOf" srcId="{D8173E75-EF2E-42BA-9D7C-C951A73B68D1}" destId="{2D3ECD94-3C0A-4A3F-86A8-BB20A78773B4}" srcOrd="0" destOrd="0" presId="urn:microsoft.com/office/officeart/2005/8/layout/hList1"/>
    <dgm:cxn modelId="{621C087D-7AFA-47E5-9CC2-C63321B3F8AD}" type="presOf" srcId="{61EF8D1B-D71E-4C59-BF81-76921B3BA2FC}" destId="{4EB2CFD1-85D0-4D76-A685-565692B7A604}" srcOrd="0" destOrd="10" presId="urn:microsoft.com/office/officeart/2005/8/layout/hList1"/>
    <dgm:cxn modelId="{F5EA4818-EF9F-46EC-84EA-D694D5554381}" srcId="{8FBD89BA-7D94-4C4D-891E-8843441756E6}" destId="{74045906-B780-4139-AE4A-A6FE724B37EE}" srcOrd="0" destOrd="0" parTransId="{5ACE0259-757D-482C-8D67-FF13AC9CEB40}" sibTransId="{F04565A1-B352-4959-ABFF-C41FCA7D3AB2}"/>
    <dgm:cxn modelId="{A9428859-25C5-467E-A809-F86176613736}" srcId="{CBFB4CA8-E9BD-47CD-A26C-C49B2D1FCFA5}" destId="{D8173E75-EF2E-42BA-9D7C-C951A73B68D1}" srcOrd="0" destOrd="0" parTransId="{1B52B868-4693-444D-9E5C-1AFCC8A5FE44}" sibTransId="{D046B214-91F8-4EB0-AC11-153205B7FB66}"/>
    <dgm:cxn modelId="{101DD9E9-855A-4380-9C16-6D90176B93D5}" type="presOf" srcId="{6213A07F-10D0-4D86-9616-FC300867C780}" destId="{4EB2CFD1-85D0-4D76-A685-565692B7A604}" srcOrd="0" destOrd="5" presId="urn:microsoft.com/office/officeart/2005/8/layout/hList1"/>
    <dgm:cxn modelId="{0C38D09F-FEF0-4CDA-B370-6CE328232D4D}" srcId="{8FBD89BA-7D94-4C4D-891E-8843441756E6}" destId="{AEC3390A-ED14-4F5D-8ECE-F9023C0DF904}" srcOrd="1" destOrd="0" parTransId="{CBE793C4-94B3-4891-9DEA-7D3B91DCDBFA}" sibTransId="{1A981393-9B0E-4EC2-9778-6A05223A30AC}"/>
    <dgm:cxn modelId="{B7447E10-845C-497B-A815-27AF9E335E64}" type="presOf" srcId="{80164E09-6A65-47EC-B709-7BE656539DB1}" destId="{AB670AAA-15BF-4AFD-829B-DBF700002B2A}" srcOrd="0" destOrd="9" presId="urn:microsoft.com/office/officeart/2005/8/layout/hList1"/>
    <dgm:cxn modelId="{657B9E1B-97D9-41F2-BD3E-4BB44CB42D98}" srcId="{AEC3390A-ED14-4F5D-8ECE-F9023C0DF904}" destId="{6CDC56A3-8FC1-4391-B0F6-8B7C405D3478}" srcOrd="2" destOrd="0" parTransId="{1C11478E-E425-40E6-9AB8-CDE125CEBA1C}" sibTransId="{C291EB81-DF19-4133-821C-82E68090C9BF}"/>
    <dgm:cxn modelId="{FC84F1CC-C723-4237-A951-154CAB779219}" srcId="{74045906-B780-4139-AE4A-A6FE724B37EE}" destId="{047FAA6E-FEB7-4108-8A68-A0912290B482}" srcOrd="6" destOrd="0" parTransId="{E1B838D9-E847-481F-A4AC-D19263FE454E}" sibTransId="{350438A2-BF78-48DB-8AD1-341EC54A4CBB}"/>
    <dgm:cxn modelId="{2BC3E130-2700-4DF4-A42B-252A5798FB29}" type="presOf" srcId="{047FAA6E-FEB7-4108-8A68-A0912290B482}" destId="{F05ECDCA-4924-4FC6-BC42-ECAFBC6E205E}" srcOrd="0" destOrd="6" presId="urn:microsoft.com/office/officeart/2005/8/layout/hList1"/>
    <dgm:cxn modelId="{45AE0832-E6DE-4295-BEBD-053E668912CB}" srcId="{74045906-B780-4139-AE4A-A6FE724B37EE}" destId="{C7B13238-0423-4933-BA73-D71124EE3028}" srcOrd="0" destOrd="0" parTransId="{D99B37EA-8E46-4681-89F8-6AED8B35FE6B}" sibTransId="{F422B3F3-3193-4655-808B-8361ED42B8F9}"/>
    <dgm:cxn modelId="{2721AAC4-E31E-477A-BCB1-5F3E9DA1DF8C}" type="presOf" srcId="{6CDC56A3-8FC1-4391-B0F6-8B7C405D3478}" destId="{AB670AAA-15BF-4AFD-829B-DBF700002B2A}" srcOrd="0" destOrd="2" presId="urn:microsoft.com/office/officeart/2005/8/layout/hList1"/>
    <dgm:cxn modelId="{264C63E2-DD06-42BF-AE1D-085867C0A4F6}" type="presOf" srcId="{97EE351D-3AAC-410D-97DD-2693E965D1B2}" destId="{AB670AAA-15BF-4AFD-829B-DBF700002B2A}" srcOrd="0" destOrd="1" presId="urn:microsoft.com/office/officeart/2005/8/layout/hList1"/>
    <dgm:cxn modelId="{630BD361-8B64-4903-AD7B-1DA77AFF9854}" type="presOf" srcId="{9194493A-97AE-4432-81FA-6710DC260844}" destId="{2D3ECD94-3C0A-4A3F-86A8-BB20A78773B4}" srcOrd="0" destOrd="4" presId="urn:microsoft.com/office/officeart/2005/8/layout/hList1"/>
    <dgm:cxn modelId="{95BCC2F1-DB81-414D-A253-09F1A6F8E9AA}" type="presOf" srcId="{74045906-B780-4139-AE4A-A6FE724B37EE}" destId="{1CB214E8-C0AE-4CCB-9EBB-6DD1162BCA3D}" srcOrd="0" destOrd="0" presId="urn:microsoft.com/office/officeart/2005/8/layout/hList1"/>
    <dgm:cxn modelId="{B34A9F6E-F06C-4B08-8E85-6241AC78B6B2}" srcId="{8FBD89BA-7D94-4C4D-891E-8843441756E6}" destId="{06BE6CC3-25D1-47E9-82AD-5F825510E3A4}" srcOrd="3" destOrd="0" parTransId="{568137ED-C01F-4D36-B8B8-3545E8B0F1E5}" sibTransId="{FC275445-2869-453B-924D-2A1D5A392EB6}"/>
    <dgm:cxn modelId="{D7503495-3F28-4F6C-9AFF-6AC88F839D70}" type="presOf" srcId="{E1A5B0DC-79C8-4BDE-89B5-84EA5BA592C9}" destId="{4EB2CFD1-85D0-4D76-A685-565692B7A604}" srcOrd="0" destOrd="4" presId="urn:microsoft.com/office/officeart/2005/8/layout/hList1"/>
    <dgm:cxn modelId="{DF2C3AB3-AAF2-4D15-B6EF-7C9717A2C0D7}" type="presOf" srcId="{D51DA9A7-FC27-491D-9350-B648CB1E3BF0}" destId="{AB670AAA-15BF-4AFD-829B-DBF700002B2A}" srcOrd="0" destOrd="7" presId="urn:microsoft.com/office/officeart/2005/8/layout/hList1"/>
    <dgm:cxn modelId="{B89DFD38-CB84-433B-8539-1FD3B6B42869}" srcId="{06BE6CC3-25D1-47E9-82AD-5F825510E3A4}" destId="{BDE0AA92-E7B4-42EE-A278-360B39CF51DB}" srcOrd="6" destOrd="0" parTransId="{796C2260-38E7-4494-A5D0-8830157E1AE2}" sibTransId="{67EB4432-9B0E-4088-8859-46AF35D52B82}"/>
    <dgm:cxn modelId="{EB8AD4BA-4B0A-4FE2-BB29-74C5AE7F2531}" srcId="{CBFB4CA8-E9BD-47CD-A26C-C49B2D1FCFA5}" destId="{8369132E-40A3-4B90-9695-E9CBC1830C2A}" srcOrd="1" destOrd="0" parTransId="{24A2E486-DB45-4D62-A859-6EDD4B305D87}" sibTransId="{B1B6ECF0-67FB-48A4-97D0-88401B364D34}"/>
    <dgm:cxn modelId="{0F41484E-4106-4133-99C1-9AD4084C98F5}" type="presOf" srcId="{489E424F-AE0A-4B4B-9A29-A8EBBFCC38F5}" destId="{AB670AAA-15BF-4AFD-829B-DBF700002B2A}" srcOrd="0" destOrd="4" presId="urn:microsoft.com/office/officeart/2005/8/layout/hList1"/>
    <dgm:cxn modelId="{BDE8C5D4-6E4C-4C43-BF5F-5C47C05C5C68}" srcId="{AEC3390A-ED14-4F5D-8ECE-F9023C0DF904}" destId="{99B2976C-90C2-4F6C-953B-3B188425BEF8}" srcOrd="5" destOrd="0" parTransId="{EADFCB05-65E8-42FD-96FE-A3E545044289}" sibTransId="{0BF8EF5C-F71C-46AC-9B1A-4DE356C44DD7}"/>
    <dgm:cxn modelId="{7ABD0AB9-5C6D-4F6F-848F-4D65A88DE89C}" type="presOf" srcId="{462D8A2F-813E-45D0-8ADF-DE86CBEE1DC9}" destId="{AB670AAA-15BF-4AFD-829B-DBF700002B2A}" srcOrd="0" destOrd="3" presId="urn:microsoft.com/office/officeart/2005/8/layout/hList1"/>
    <dgm:cxn modelId="{F97C7C20-8AA9-4978-A57A-A6953910255A}" type="presOf" srcId="{539C3C8D-0097-4971-A4F3-0685E6FE8256}" destId="{2D3ECD94-3C0A-4A3F-86A8-BB20A78773B4}" srcOrd="0" destOrd="3" presId="urn:microsoft.com/office/officeart/2005/8/layout/hList1"/>
    <dgm:cxn modelId="{BE97295F-B1F6-45C4-A210-7FBF6652EC07}" type="presOf" srcId="{C13FDA92-C800-4C17-9043-F5CBC498A96C}" destId="{F05ECDCA-4924-4FC6-BC42-ECAFBC6E205E}" srcOrd="0" destOrd="5" presId="urn:microsoft.com/office/officeart/2005/8/layout/hList1"/>
    <dgm:cxn modelId="{C8F43644-8530-4AB6-9F7F-87A56ED89FA9}" type="presOf" srcId="{E15DC868-1BFD-4C9B-A15D-BCD5CAC9876B}" destId="{F05ECDCA-4924-4FC6-BC42-ECAFBC6E205E}" srcOrd="0" destOrd="4" presId="urn:microsoft.com/office/officeart/2005/8/layout/hList1"/>
    <dgm:cxn modelId="{1C2FD602-B7C2-4B3A-A779-68AA1EB2C908}" srcId="{06BE6CC3-25D1-47E9-82AD-5F825510E3A4}" destId="{E19D8D9C-F971-42A6-AA3C-371E095B3D5A}" srcOrd="0" destOrd="0" parTransId="{F2A129A1-5A1F-4395-A5BF-D181C640EB07}" sibTransId="{0A3F6AEB-5284-43E7-B111-4D1718D0DCB7}"/>
    <dgm:cxn modelId="{7DC6F977-6A5E-433A-BBF6-236EE14FFF5A}" type="presOf" srcId="{6044C85D-BB86-447D-B8D2-D4B86950D76D}" destId="{4EB2CFD1-85D0-4D76-A685-565692B7A604}" srcOrd="0" destOrd="1" presId="urn:microsoft.com/office/officeart/2005/8/layout/hList1"/>
    <dgm:cxn modelId="{9EE74399-86F3-4608-835F-1E0CF28350EE}" srcId="{06BE6CC3-25D1-47E9-82AD-5F825510E3A4}" destId="{6213A07F-10D0-4D86-9616-FC300867C780}" srcOrd="5" destOrd="0" parTransId="{7969BCC4-00A7-47F9-A625-943EB0985B9E}" sibTransId="{FFA69317-A6C2-4DA5-80BC-91CC924158D7}"/>
    <dgm:cxn modelId="{D681CFAB-DA43-420F-88D0-C8711ED1AA6E}" type="presOf" srcId="{4FD808F9-AE22-4F8F-AD37-C283743B421A}" destId="{4EB2CFD1-85D0-4D76-A685-565692B7A604}" srcOrd="0" destOrd="3" presId="urn:microsoft.com/office/officeart/2005/8/layout/hList1"/>
    <dgm:cxn modelId="{4DA87D1B-01A5-49A3-89E8-95E2F0CCFAD8}" srcId="{AEC3390A-ED14-4F5D-8ECE-F9023C0DF904}" destId="{489E424F-AE0A-4B4B-9A29-A8EBBFCC38F5}" srcOrd="4" destOrd="0" parTransId="{E8926A02-030E-49D8-96C7-5BF19C052149}" sibTransId="{CD74411C-9251-4A48-8B54-7F4C6B2A5DB3}"/>
    <dgm:cxn modelId="{0CD74EF8-3BD7-489F-8680-B725FE38DC84}" srcId="{AEC3390A-ED14-4F5D-8ECE-F9023C0DF904}" destId="{80164E09-6A65-47EC-B709-7BE656539DB1}" srcOrd="9" destOrd="0" parTransId="{0E672987-16EA-4E99-A928-FC5ABF3BA54A}" sibTransId="{927AC845-7337-4336-BAE4-39DFA15F6228}"/>
    <dgm:cxn modelId="{68333C3D-95DA-4896-9C86-1CBA090E2E37}" srcId="{AEC3390A-ED14-4F5D-8ECE-F9023C0DF904}" destId="{88A2BC3F-54B0-49FE-84F7-80AC07D0867F}" srcOrd="0" destOrd="0" parTransId="{3F14729F-7A84-4907-8E4E-2EECA7CE8CA5}" sibTransId="{AFC5348F-761B-4DCA-B31F-37D60A6B5058}"/>
    <dgm:cxn modelId="{F4C0CBD6-FB16-4D74-AB4C-C7818C9744C1}" type="presOf" srcId="{888EE4A4-C22A-4559-86A6-1A2409263C1B}" destId="{F05ECDCA-4924-4FC6-BC42-ECAFBC6E205E}" srcOrd="0" destOrd="1" presId="urn:microsoft.com/office/officeart/2005/8/layout/hList1"/>
    <dgm:cxn modelId="{41271ADD-971B-410F-8D61-C997B0126D0B}" srcId="{CBFB4CA8-E9BD-47CD-A26C-C49B2D1FCFA5}" destId="{2DAFC5ED-8A6F-40CF-A0CB-5B6E3BD1F402}" srcOrd="8" destOrd="0" parTransId="{439D89E6-BE07-4FD1-A770-1C06F48420AC}" sibTransId="{13405103-2FD5-4EB6-994C-A2577654BB6A}"/>
    <dgm:cxn modelId="{DD4D14B5-81E6-437B-86CB-2A05079CDE30}" type="presOf" srcId="{9773A3B4-CA23-4D11-8D13-F6A069A25E84}" destId="{4EB2CFD1-85D0-4D76-A685-565692B7A604}" srcOrd="0" destOrd="9" presId="urn:microsoft.com/office/officeart/2005/8/layout/hList1"/>
    <dgm:cxn modelId="{33758B35-7D2D-4534-B9B3-63129BB1498C}" srcId="{06BE6CC3-25D1-47E9-82AD-5F825510E3A4}" destId="{0217A8F9-E9E7-4417-B79A-01FE6886A0E0}" srcOrd="8" destOrd="0" parTransId="{3D0DB573-BF59-4039-A38A-C33071D857FF}" sibTransId="{5AC6996B-B220-4289-AC1A-0E4950F8A50D}"/>
    <dgm:cxn modelId="{FAD8A5B7-F470-4E91-99F8-963AE6189E1F}" type="presOf" srcId="{D8010237-44A2-4C7E-ABE5-12BEB2A2A4DB}" destId="{F05ECDCA-4924-4FC6-BC42-ECAFBC6E205E}" srcOrd="0" destOrd="7" presId="urn:microsoft.com/office/officeart/2005/8/layout/hList1"/>
    <dgm:cxn modelId="{60F30CD6-2E6B-41AE-BB73-8BFAF5B2A332}" type="presOf" srcId="{06BE6CC3-25D1-47E9-82AD-5F825510E3A4}" destId="{3D12BC2E-FFC3-481C-ACB3-898C590FAA0D}" srcOrd="0" destOrd="0" presId="urn:microsoft.com/office/officeart/2005/8/layout/hList1"/>
    <dgm:cxn modelId="{17BED6B3-A2CF-4A34-A766-B909EB034418}" srcId="{AEC3390A-ED14-4F5D-8ECE-F9023C0DF904}" destId="{FA0FC92D-FC8F-4F6C-89AC-5E397C92343E}" srcOrd="8" destOrd="0" parTransId="{6F35A530-358D-4920-BC81-9B7F8A4B32D6}" sibTransId="{D4A6CD50-5C32-418F-8FEF-AC0E777365C5}"/>
    <dgm:cxn modelId="{EC661C49-FAD9-4A06-82D4-F9690AE5D210}" srcId="{CBFB4CA8-E9BD-47CD-A26C-C49B2D1FCFA5}" destId="{539C3C8D-0097-4971-A4F3-0685E6FE8256}" srcOrd="3" destOrd="0" parTransId="{E333B6DE-9BCD-48EF-B1B9-21087464F81D}" sibTransId="{7953A72D-D8EB-46B2-AC7A-EEDE73323534}"/>
    <dgm:cxn modelId="{C8EEB795-5BC9-4985-94E5-4245D9758613}" type="presOf" srcId="{E19D8D9C-F971-42A6-AA3C-371E095B3D5A}" destId="{4EB2CFD1-85D0-4D76-A685-565692B7A604}" srcOrd="0" destOrd="0" presId="urn:microsoft.com/office/officeart/2005/8/layout/hList1"/>
    <dgm:cxn modelId="{9CB9A66B-CC42-47C7-8D6B-03E83D91A00D}" srcId="{CBFB4CA8-E9BD-47CD-A26C-C49B2D1FCFA5}" destId="{D1B26C49-47C5-4EA0-AA64-B47E7968DA36}" srcOrd="6" destOrd="0" parTransId="{51528BD8-9E9E-4969-BD1B-24BC9D7B76C4}" sibTransId="{75865CC0-493C-4DCC-8C24-B2F0EF6C9CF7}"/>
    <dgm:cxn modelId="{E8D4D177-8B8B-43FD-A446-DB3EB7B98CF1}" type="presOf" srcId="{AEC3390A-ED14-4F5D-8ECE-F9023C0DF904}" destId="{C81AC74B-C79B-418F-8FB2-9961ADB03524}" srcOrd="0" destOrd="0" presId="urn:microsoft.com/office/officeart/2005/8/layout/hList1"/>
    <dgm:cxn modelId="{3B27322A-F7B4-4891-A3AA-4D12335CA6B2}" srcId="{74045906-B780-4139-AE4A-A6FE724B37EE}" destId="{E15DC868-1BFD-4C9B-A15D-BCD5CAC9876B}" srcOrd="4" destOrd="0" parTransId="{187CA5D0-2A2C-428A-AEDA-DBDD10A4456C}" sibTransId="{435C58D5-7104-46BD-B2AF-0215F69BB852}"/>
    <dgm:cxn modelId="{D3182A67-0D5A-46B3-A3EF-A8E0E06923BD}" type="presOf" srcId="{F7348670-27B1-4631-B0F9-AFE1D2FE4D84}" destId="{2D3ECD94-3C0A-4A3F-86A8-BB20A78773B4}" srcOrd="0" destOrd="5" presId="urn:microsoft.com/office/officeart/2005/8/layout/hList1"/>
    <dgm:cxn modelId="{7031787A-E101-4BA0-B308-276DDCA93BA3}" srcId="{74045906-B780-4139-AE4A-A6FE724B37EE}" destId="{C30B8B32-A314-40CC-A910-811637599162}" srcOrd="2" destOrd="0" parTransId="{134C2468-82C4-4FC3-8837-0FF669C34A1F}" sibTransId="{C7E31C37-9CB6-40B0-8E13-B962C55C3367}"/>
    <dgm:cxn modelId="{EE972882-28C6-485E-9116-67F2442908F3}" type="presOf" srcId="{8369132E-40A3-4B90-9695-E9CBC1830C2A}" destId="{2D3ECD94-3C0A-4A3F-86A8-BB20A78773B4}" srcOrd="0" destOrd="1" presId="urn:microsoft.com/office/officeart/2005/8/layout/hList1"/>
    <dgm:cxn modelId="{AD2F9874-5A69-431F-A087-E5B801309F4E}" srcId="{74045906-B780-4139-AE4A-A6FE724B37EE}" destId="{11CCAF2C-B6FD-40AB-8A00-04F964BEDA92}" srcOrd="3" destOrd="0" parTransId="{3277040F-790A-4418-BB57-B57A12F4AE88}" sibTransId="{A0B30C60-EB48-4526-8807-CD7901438324}"/>
    <dgm:cxn modelId="{4513D5CE-4ECE-4829-BAF8-E22C07C0E89D}" srcId="{AEC3390A-ED14-4F5D-8ECE-F9023C0DF904}" destId="{3AFA0C75-3222-4C16-A868-72D9BE7B778C}" srcOrd="6" destOrd="0" parTransId="{B007FB07-4E9E-4B19-933E-6AA3F71D212A}" sibTransId="{6C791243-3905-4312-ACF0-5E6E52447793}"/>
    <dgm:cxn modelId="{EE7A3FC3-EA00-4973-BA96-DBCB70408C70}" srcId="{CBFB4CA8-E9BD-47CD-A26C-C49B2D1FCFA5}" destId="{B79EC427-B9D1-4742-86A1-9EC9A383BFA1}" srcOrd="9" destOrd="0" parTransId="{4B4ECE19-DBBB-4565-91E3-2612EE3E7FCE}" sibTransId="{0ED21363-0FAF-4F32-A5BA-6AD8A5B7D5E0}"/>
    <dgm:cxn modelId="{BD607DFC-5430-481F-ABBC-3DAFE8334751}" type="presOf" srcId="{BDE0AA92-E7B4-42EE-A278-360B39CF51DB}" destId="{4EB2CFD1-85D0-4D76-A685-565692B7A604}" srcOrd="0" destOrd="6" presId="urn:microsoft.com/office/officeart/2005/8/layout/hList1"/>
    <dgm:cxn modelId="{7357959C-D75E-4BA3-AB5D-7782794E5914}" type="presOf" srcId="{3AFA0C75-3222-4C16-A868-72D9BE7B778C}" destId="{AB670AAA-15BF-4AFD-829B-DBF700002B2A}" srcOrd="0" destOrd="6" presId="urn:microsoft.com/office/officeart/2005/8/layout/hList1"/>
    <dgm:cxn modelId="{A206788D-47A1-444E-92F5-6E65E60F7C19}" type="presOf" srcId="{2DAFC5ED-8A6F-40CF-A0CB-5B6E3BD1F402}" destId="{2D3ECD94-3C0A-4A3F-86A8-BB20A78773B4}" srcOrd="0" destOrd="8" presId="urn:microsoft.com/office/officeart/2005/8/layout/hList1"/>
    <dgm:cxn modelId="{36B363DB-E637-4D13-949F-967CBDA185EA}" type="presOf" srcId="{88A2BC3F-54B0-49FE-84F7-80AC07D0867F}" destId="{AB670AAA-15BF-4AFD-829B-DBF700002B2A}" srcOrd="0" destOrd="0" presId="urn:microsoft.com/office/officeart/2005/8/layout/hList1"/>
    <dgm:cxn modelId="{74EFAE2A-F6BC-4185-A592-825FAC2DFC53}" srcId="{CBFB4CA8-E9BD-47CD-A26C-C49B2D1FCFA5}" destId="{207DB18A-6AB7-4245-85E7-3EF8CB4977A9}" srcOrd="2" destOrd="0" parTransId="{B75097A2-B901-4D92-AD3F-F986FAFB104B}" sibTransId="{7CC468E6-7509-4679-B698-BB0337D87CB0}"/>
    <dgm:cxn modelId="{8FB9BBD8-5C3E-4675-9288-CA8F6ED8E0EE}" type="presOf" srcId="{B79EC427-B9D1-4742-86A1-9EC9A383BFA1}" destId="{2D3ECD94-3C0A-4A3F-86A8-BB20A78773B4}" srcOrd="0" destOrd="9" presId="urn:microsoft.com/office/officeart/2005/8/layout/hList1"/>
    <dgm:cxn modelId="{C3F86AF4-B05D-4BC4-9888-0DF7CA74B82A}" srcId="{06BE6CC3-25D1-47E9-82AD-5F825510E3A4}" destId="{E1A5B0DC-79C8-4BDE-89B5-84EA5BA592C9}" srcOrd="4" destOrd="0" parTransId="{7C85A697-3215-4C6B-9998-67DB8D8C292F}" sibTransId="{59E326FE-3828-46E9-81D9-1168EED17777}"/>
    <dgm:cxn modelId="{52910794-21CD-4901-BEF9-29C83910863A}" srcId="{8FBD89BA-7D94-4C4D-891E-8843441756E6}" destId="{CBFB4CA8-E9BD-47CD-A26C-C49B2D1FCFA5}" srcOrd="2" destOrd="0" parTransId="{6921FC98-C64D-43D3-84FF-BD52D24B90B8}" sibTransId="{0DA76523-6997-4A90-9B36-F61FADF204CB}"/>
    <dgm:cxn modelId="{77BD9C34-9F9A-4B61-A5FB-B862CCB3CF62}" type="presOf" srcId="{11CCAF2C-B6FD-40AB-8A00-04F964BEDA92}" destId="{F05ECDCA-4924-4FC6-BC42-ECAFBC6E205E}" srcOrd="0" destOrd="3" presId="urn:microsoft.com/office/officeart/2005/8/layout/hList1"/>
    <dgm:cxn modelId="{BF3EFC17-02EF-4BB7-A5B8-9C75A3138DED}" srcId="{74045906-B780-4139-AE4A-A6FE724B37EE}" destId="{D8010237-44A2-4C7E-ABE5-12BEB2A2A4DB}" srcOrd="7" destOrd="0" parTransId="{1FFB994C-7518-477C-926C-7D6A78E5729B}" sibTransId="{FA5E10FB-CDA4-4E3A-97DE-D1BB065408DB}"/>
    <dgm:cxn modelId="{34DEB732-C0A3-44BC-A084-B761CEDA6B3A}" srcId="{AEC3390A-ED14-4F5D-8ECE-F9023C0DF904}" destId="{97EE351D-3AAC-410D-97DD-2693E965D1B2}" srcOrd="1" destOrd="0" parTransId="{F022E097-E7B6-4739-8AD7-D9A7A0AE4C09}" sibTransId="{56CD6295-270A-4D1D-BF76-B20EC59D0F22}"/>
    <dgm:cxn modelId="{39CEFA98-1714-4E3E-86DE-C0C30438B11A}" srcId="{CBFB4CA8-E9BD-47CD-A26C-C49B2D1FCFA5}" destId="{9194493A-97AE-4432-81FA-6710DC260844}" srcOrd="4" destOrd="0" parTransId="{8B17912B-4A30-43AC-803D-3E5C91320E32}" sibTransId="{8D607D00-2C79-4367-B9CC-7836B9F8E2EB}"/>
    <dgm:cxn modelId="{1CEA4A36-B402-4ACB-AABA-1B418292874B}" type="presOf" srcId="{CBFB4CA8-E9BD-47CD-A26C-C49B2D1FCFA5}" destId="{3D83538A-A4CB-47F6-B082-F02160AEA199}" srcOrd="0" destOrd="0" presId="urn:microsoft.com/office/officeart/2005/8/layout/hList1"/>
    <dgm:cxn modelId="{BA7982B2-C4DA-4674-9486-5E731415FB01}" srcId="{06BE6CC3-25D1-47E9-82AD-5F825510E3A4}" destId="{61EF8D1B-D71E-4C59-BF81-76921B3BA2FC}" srcOrd="10" destOrd="0" parTransId="{37EF210A-7F96-41E5-8A8C-5AE7F4CC1AF6}" sibTransId="{E1D20095-3C4A-4155-BBC0-0EE26D1EAF2F}"/>
    <dgm:cxn modelId="{C6DD398D-D1F2-4A00-A8B1-8D514846CECB}" srcId="{06BE6CC3-25D1-47E9-82AD-5F825510E3A4}" destId="{9773A3B4-CA23-4D11-8D13-F6A069A25E84}" srcOrd="9" destOrd="0" parTransId="{A66F693C-6045-4DA8-8468-3D9DA86182ED}" sibTransId="{408C9501-F530-4FC6-BDF1-008128598D37}"/>
    <dgm:cxn modelId="{85CE1C6C-A96D-4414-9AFC-39A61FD3992A}" srcId="{CBFB4CA8-E9BD-47CD-A26C-C49B2D1FCFA5}" destId="{FDA1E1BA-7F03-4723-8D3C-5F31F1B6D8B0}" srcOrd="7" destOrd="0" parTransId="{D6943D1B-32FB-43F8-BCFA-B755A3869B7A}" sibTransId="{E3A54A2C-7733-4E81-80EF-A012DADA5074}"/>
    <dgm:cxn modelId="{2AD6D67F-BE90-4444-A4B4-CDECA7F6657C}" type="presOf" srcId="{0217A8F9-E9E7-4417-B79A-01FE6886A0E0}" destId="{4EB2CFD1-85D0-4D76-A685-565692B7A604}" srcOrd="0" destOrd="8" presId="urn:microsoft.com/office/officeart/2005/8/layout/hList1"/>
    <dgm:cxn modelId="{A4DE767C-8050-42EA-8951-9DD40DB4F64B}" type="presOf" srcId="{99B2976C-90C2-4F6C-953B-3B188425BEF8}" destId="{AB670AAA-15BF-4AFD-829B-DBF700002B2A}" srcOrd="0" destOrd="5" presId="urn:microsoft.com/office/officeart/2005/8/layout/hList1"/>
    <dgm:cxn modelId="{641A2993-ADB8-4EC9-BA95-2053A76A1396}" srcId="{AEC3390A-ED14-4F5D-8ECE-F9023C0DF904}" destId="{D51DA9A7-FC27-491D-9350-B648CB1E3BF0}" srcOrd="7" destOrd="0" parTransId="{D9800C95-1E1A-4E4F-BF9F-80442F5BBB7B}" sibTransId="{1DFD674E-4ABB-4209-B4C6-968CC75D6429}"/>
    <dgm:cxn modelId="{EEC5802D-2362-4ABE-AFFB-E88E21509E84}" type="presOf" srcId="{7017ACF8-B613-4696-94BC-48BC343C3896}" destId="{4EB2CFD1-85D0-4D76-A685-565692B7A604}" srcOrd="0" destOrd="2" presId="urn:microsoft.com/office/officeart/2005/8/layout/hList1"/>
    <dgm:cxn modelId="{EA54160A-127A-455F-BE7F-4218440BE4FE}" srcId="{06BE6CC3-25D1-47E9-82AD-5F825510E3A4}" destId="{6044C85D-BB86-447D-B8D2-D4B86950D76D}" srcOrd="1" destOrd="0" parTransId="{37EE3493-7B48-4F5B-B708-0329AC063452}" sibTransId="{2C1B972B-593A-47F1-BBEC-8F3F9CD990C4}"/>
    <dgm:cxn modelId="{4F3DAA9A-F695-4D31-9403-64EC1DF2DCED}" srcId="{74045906-B780-4139-AE4A-A6FE724B37EE}" destId="{888EE4A4-C22A-4559-86A6-1A2409263C1B}" srcOrd="1" destOrd="0" parTransId="{04605B2B-A4FD-4BAE-A63A-D3921CCD7571}" sibTransId="{7875A2D0-70DC-4332-8157-E77B44A984AF}"/>
    <dgm:cxn modelId="{311AF766-7440-40F3-81B7-7D68BDAFA3D3}" srcId="{06BE6CC3-25D1-47E9-82AD-5F825510E3A4}" destId="{4FD808F9-AE22-4F8F-AD37-C283743B421A}" srcOrd="3" destOrd="0" parTransId="{5292B616-2360-4DD9-BDB7-05B9317750B7}" sibTransId="{21D641CE-7ECE-4E73-B293-8BB06D45D1A3}"/>
    <dgm:cxn modelId="{4F0DF38C-74D6-4827-84F2-A0708EC0C7BD}" type="presOf" srcId="{8FBD89BA-7D94-4C4D-891E-8843441756E6}" destId="{643363C9-CE12-45CB-B688-AE2C466F414C}" srcOrd="0" destOrd="0" presId="urn:microsoft.com/office/officeart/2005/8/layout/hList1"/>
    <dgm:cxn modelId="{E30C0F64-AD83-46EB-9B1C-218978DE336F}" type="presOf" srcId="{C30B8B32-A314-40CC-A910-811637599162}" destId="{F05ECDCA-4924-4FC6-BC42-ECAFBC6E205E}" srcOrd="0" destOrd="2" presId="urn:microsoft.com/office/officeart/2005/8/layout/hList1"/>
    <dgm:cxn modelId="{36C51725-92B6-445E-B6A5-14AE999AEF9B}" type="presOf" srcId="{C7B13238-0423-4933-BA73-D71124EE3028}" destId="{F05ECDCA-4924-4FC6-BC42-ECAFBC6E205E}" srcOrd="0" destOrd="0" presId="urn:microsoft.com/office/officeart/2005/8/layout/hList1"/>
    <dgm:cxn modelId="{A0D93310-A60C-498C-9A93-56A847796FE3}" type="presOf" srcId="{207DB18A-6AB7-4245-85E7-3EF8CB4977A9}" destId="{2D3ECD94-3C0A-4A3F-86A8-BB20A78773B4}" srcOrd="0" destOrd="2" presId="urn:microsoft.com/office/officeart/2005/8/layout/hList1"/>
    <dgm:cxn modelId="{8C3CBF64-E317-4EA1-8050-0973E8116B1D}" srcId="{CBFB4CA8-E9BD-47CD-A26C-C49B2D1FCFA5}" destId="{F7348670-27B1-4631-B0F9-AFE1D2FE4D84}" srcOrd="5" destOrd="0" parTransId="{BA019F35-A74C-4CE3-99BF-690A4688F83A}" sibTransId="{06C32D79-A05B-414B-937D-F67A78F395B2}"/>
    <dgm:cxn modelId="{F6B89742-3C94-4FA2-94A4-E2B5C0EBCEB6}" srcId="{74045906-B780-4139-AE4A-A6FE724B37EE}" destId="{C13FDA92-C800-4C17-9043-F5CBC498A96C}" srcOrd="5" destOrd="0" parTransId="{92053148-1DC2-4137-89CE-B225DA9F0DE7}" sibTransId="{1B0DA3D2-9BC6-44F5-92CC-AB01E6FEEAEA}"/>
    <dgm:cxn modelId="{D9654281-C874-4078-9612-63B6F61937B5}" type="presParOf" srcId="{643363C9-CE12-45CB-B688-AE2C466F414C}" destId="{8395C17C-6C2B-4A55-B94C-2C9873041E51}" srcOrd="0" destOrd="0" presId="urn:microsoft.com/office/officeart/2005/8/layout/hList1"/>
    <dgm:cxn modelId="{FA007000-8B98-4BCB-9E1D-AC8656F1170E}" type="presParOf" srcId="{8395C17C-6C2B-4A55-B94C-2C9873041E51}" destId="{1CB214E8-C0AE-4CCB-9EBB-6DD1162BCA3D}" srcOrd="0" destOrd="0" presId="urn:microsoft.com/office/officeart/2005/8/layout/hList1"/>
    <dgm:cxn modelId="{0B4F2282-CE36-4338-83C0-012EAC917372}" type="presParOf" srcId="{8395C17C-6C2B-4A55-B94C-2C9873041E51}" destId="{F05ECDCA-4924-4FC6-BC42-ECAFBC6E205E}" srcOrd="1" destOrd="0" presId="urn:microsoft.com/office/officeart/2005/8/layout/hList1"/>
    <dgm:cxn modelId="{7514D804-BD41-4EAB-8B15-0359CC289209}" type="presParOf" srcId="{643363C9-CE12-45CB-B688-AE2C466F414C}" destId="{B2824C43-B53A-455E-A892-A6961C0E4E5F}" srcOrd="1" destOrd="0" presId="urn:microsoft.com/office/officeart/2005/8/layout/hList1"/>
    <dgm:cxn modelId="{7E4F2A82-9C6D-43D8-AB14-78591F5809E4}" type="presParOf" srcId="{643363C9-CE12-45CB-B688-AE2C466F414C}" destId="{9BA32845-EDEF-4412-8AA2-B0709B1BD41C}" srcOrd="2" destOrd="0" presId="urn:microsoft.com/office/officeart/2005/8/layout/hList1"/>
    <dgm:cxn modelId="{BA5357B8-1801-4CB7-B834-C135B7EE45CE}" type="presParOf" srcId="{9BA32845-EDEF-4412-8AA2-B0709B1BD41C}" destId="{C81AC74B-C79B-418F-8FB2-9961ADB03524}" srcOrd="0" destOrd="0" presId="urn:microsoft.com/office/officeart/2005/8/layout/hList1"/>
    <dgm:cxn modelId="{B2CA2AFA-FC91-4F85-A94C-0197889665D9}" type="presParOf" srcId="{9BA32845-EDEF-4412-8AA2-B0709B1BD41C}" destId="{AB670AAA-15BF-4AFD-829B-DBF700002B2A}" srcOrd="1" destOrd="0" presId="urn:microsoft.com/office/officeart/2005/8/layout/hList1"/>
    <dgm:cxn modelId="{587B818E-F83F-426E-87CD-46330FDA5B48}" type="presParOf" srcId="{643363C9-CE12-45CB-B688-AE2C466F414C}" destId="{F9DF45D8-E589-4503-867E-40429F716E4A}" srcOrd="3" destOrd="0" presId="urn:microsoft.com/office/officeart/2005/8/layout/hList1"/>
    <dgm:cxn modelId="{7ADBE691-7C8A-4D15-8E12-828841C08354}" type="presParOf" srcId="{643363C9-CE12-45CB-B688-AE2C466F414C}" destId="{E6D2BACC-6436-47AA-ADA2-765DD054C6FC}" srcOrd="4" destOrd="0" presId="urn:microsoft.com/office/officeart/2005/8/layout/hList1"/>
    <dgm:cxn modelId="{BF91F03D-A983-4824-BE2C-E9BF5AB3BC6A}" type="presParOf" srcId="{E6D2BACC-6436-47AA-ADA2-765DD054C6FC}" destId="{3D83538A-A4CB-47F6-B082-F02160AEA199}" srcOrd="0" destOrd="0" presId="urn:microsoft.com/office/officeart/2005/8/layout/hList1"/>
    <dgm:cxn modelId="{ADFA330A-3468-4980-BFA8-1636CB617D55}" type="presParOf" srcId="{E6D2BACC-6436-47AA-ADA2-765DD054C6FC}" destId="{2D3ECD94-3C0A-4A3F-86A8-BB20A78773B4}" srcOrd="1" destOrd="0" presId="urn:microsoft.com/office/officeart/2005/8/layout/hList1"/>
    <dgm:cxn modelId="{78967CA7-7B94-4098-8296-C027CDA78B20}" type="presParOf" srcId="{643363C9-CE12-45CB-B688-AE2C466F414C}" destId="{30309261-7D50-4F78-9A10-AB973061A022}" srcOrd="5" destOrd="0" presId="urn:microsoft.com/office/officeart/2005/8/layout/hList1"/>
    <dgm:cxn modelId="{A31F876D-C919-4193-87F9-2F6E6314A4E9}" type="presParOf" srcId="{643363C9-CE12-45CB-B688-AE2C466F414C}" destId="{06D726FE-75A8-47CD-B4F8-EB21E0F0109D}" srcOrd="6" destOrd="0" presId="urn:microsoft.com/office/officeart/2005/8/layout/hList1"/>
    <dgm:cxn modelId="{5504C4A0-0F8B-4135-A3BE-C8230FAEAE1D}" type="presParOf" srcId="{06D726FE-75A8-47CD-B4F8-EB21E0F0109D}" destId="{3D12BC2E-FFC3-481C-ACB3-898C590FAA0D}" srcOrd="0" destOrd="0" presId="urn:microsoft.com/office/officeart/2005/8/layout/hList1"/>
    <dgm:cxn modelId="{2F7E9259-1E25-4973-9C40-F924A7E78C79}" type="presParOf" srcId="{06D726FE-75A8-47CD-B4F8-EB21E0F0109D}" destId="{4EB2CFD1-85D0-4D76-A685-565692B7A604}"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FBD89BA-7D94-4C4D-891E-8843441756E6}" type="doc">
      <dgm:prSet loTypeId="urn:microsoft.com/office/officeart/2005/8/layout/hList1" loCatId="list" qsTypeId="urn:microsoft.com/office/officeart/2005/8/quickstyle/simple1" qsCatId="simple" csTypeId="urn:microsoft.com/office/officeart/2005/8/colors/accent6_2" csCatId="accent6" phldr="1"/>
      <dgm:spPr/>
      <dgm:t>
        <a:bodyPr/>
        <a:lstStyle/>
        <a:p>
          <a:endParaRPr lang="en-US"/>
        </a:p>
      </dgm:t>
    </dgm:pt>
    <dgm:pt modelId="{938BAF04-8C32-49B4-AF44-67B708B3BBA7}">
      <dgm:prSet custT="1"/>
      <dgm:spPr/>
      <dgm:t>
        <a:bodyPr/>
        <a:lstStyle/>
        <a:p>
          <a:r>
            <a:rPr lang="en-US" sz="1400" dirty="0" smtClean="0"/>
            <a:t>HTML5</a:t>
          </a:r>
          <a:endParaRPr lang="en-US" sz="1400" dirty="0"/>
        </a:p>
      </dgm:t>
    </dgm:pt>
    <dgm:pt modelId="{60F8D5F7-0480-4FAE-9596-EED6A507D8D4}" type="parTrans" cxnId="{C9580D89-0DC6-4EF6-9A90-3F47355FBC14}">
      <dgm:prSet/>
      <dgm:spPr/>
      <dgm:t>
        <a:bodyPr/>
        <a:lstStyle/>
        <a:p>
          <a:endParaRPr lang="en-US"/>
        </a:p>
      </dgm:t>
    </dgm:pt>
    <dgm:pt modelId="{96469623-8790-45DC-A1A7-C10D673B8E85}" type="sibTrans" cxnId="{C9580D89-0DC6-4EF6-9A90-3F47355FBC14}">
      <dgm:prSet/>
      <dgm:spPr/>
      <dgm:t>
        <a:bodyPr/>
        <a:lstStyle/>
        <a:p>
          <a:endParaRPr lang="en-US"/>
        </a:p>
      </dgm:t>
    </dgm:pt>
    <dgm:pt modelId="{6729D171-740B-4728-BFFA-9E2888087C5E}">
      <dgm:prSet custT="1"/>
      <dgm:spPr/>
      <dgm:t>
        <a:bodyPr/>
        <a:lstStyle/>
        <a:p>
          <a:r>
            <a:rPr lang="en-US" sz="1400" dirty="0" smtClean="0"/>
            <a:t>CSS3</a:t>
          </a:r>
          <a:endParaRPr lang="en-US" sz="1400" dirty="0"/>
        </a:p>
      </dgm:t>
    </dgm:pt>
    <dgm:pt modelId="{C92468F4-8FBC-44E3-9E25-A80CE010D2F9}" type="parTrans" cxnId="{14A5749C-05A7-43D2-9E6B-4A4A41096D5A}">
      <dgm:prSet/>
      <dgm:spPr/>
      <dgm:t>
        <a:bodyPr/>
        <a:lstStyle/>
        <a:p>
          <a:endParaRPr lang="en-US"/>
        </a:p>
      </dgm:t>
    </dgm:pt>
    <dgm:pt modelId="{7C7F41CC-A0B4-45C9-B558-744BFE3B51B2}" type="sibTrans" cxnId="{14A5749C-05A7-43D2-9E6B-4A4A41096D5A}">
      <dgm:prSet/>
      <dgm:spPr/>
      <dgm:t>
        <a:bodyPr/>
        <a:lstStyle/>
        <a:p>
          <a:endParaRPr lang="en-US"/>
        </a:p>
      </dgm:t>
    </dgm:pt>
    <dgm:pt modelId="{D4E526EC-DE85-469D-B528-28E45A47AFC1}">
      <dgm:prSet custT="1"/>
      <dgm:spPr/>
      <dgm:t>
        <a:bodyPr/>
        <a:lstStyle/>
        <a:p>
          <a:r>
            <a:rPr lang="en-US" sz="1400" dirty="0" smtClean="0"/>
            <a:t>Others</a:t>
          </a:r>
          <a:endParaRPr lang="en-US" sz="1400" dirty="0"/>
        </a:p>
      </dgm:t>
    </dgm:pt>
    <dgm:pt modelId="{B86ABF4B-4EA9-4F70-96AB-7BB78CF58746}" type="parTrans" cxnId="{49C49587-AA72-4A11-8391-52B2DDA82DFC}">
      <dgm:prSet/>
      <dgm:spPr/>
      <dgm:t>
        <a:bodyPr/>
        <a:lstStyle/>
        <a:p>
          <a:endParaRPr lang="en-US"/>
        </a:p>
      </dgm:t>
    </dgm:pt>
    <dgm:pt modelId="{897B8F46-7F12-4366-99F5-82E592A32472}" type="sibTrans" cxnId="{49C49587-AA72-4A11-8391-52B2DDA82DFC}">
      <dgm:prSet/>
      <dgm:spPr/>
      <dgm:t>
        <a:bodyPr/>
        <a:lstStyle/>
        <a:p>
          <a:endParaRPr lang="en-US"/>
        </a:p>
      </dgm:t>
    </dgm:pt>
    <dgm:pt modelId="{BE73CCA9-4053-4D8D-A95E-DBD1CA356802}">
      <dgm:prSet custT="1"/>
      <dgm:spPr/>
      <dgm:t>
        <a:bodyPr/>
        <a:lstStyle/>
        <a:p>
          <a:r>
            <a:rPr lang="en-US" sz="1400" dirty="0" smtClean="0"/>
            <a:t>Application Cache</a:t>
          </a:r>
          <a:endParaRPr lang="en-US" sz="1400" dirty="0"/>
        </a:p>
      </dgm:t>
    </dgm:pt>
    <dgm:pt modelId="{6D59C0D0-CF88-4DAC-9BD1-7B464D38122C}" type="parTrans" cxnId="{AA79CD9A-0193-47B7-BE00-3610A84D81C4}">
      <dgm:prSet/>
      <dgm:spPr/>
      <dgm:t>
        <a:bodyPr/>
        <a:lstStyle/>
        <a:p>
          <a:endParaRPr lang="en-US"/>
        </a:p>
      </dgm:t>
    </dgm:pt>
    <dgm:pt modelId="{BBCD7570-6E06-401E-8ED3-0C532FDF940C}" type="sibTrans" cxnId="{AA79CD9A-0193-47B7-BE00-3610A84D81C4}">
      <dgm:prSet/>
      <dgm:spPr/>
      <dgm:t>
        <a:bodyPr/>
        <a:lstStyle/>
        <a:p>
          <a:endParaRPr lang="en-US"/>
        </a:p>
      </dgm:t>
    </dgm:pt>
    <dgm:pt modelId="{E2642DD8-79B7-4B4C-9E1B-07C6DB6C6294}">
      <dgm:prSet custT="1"/>
      <dgm:spPr/>
      <dgm:t>
        <a:bodyPr/>
        <a:lstStyle/>
        <a:p>
          <a:r>
            <a:rPr lang="en-US" sz="1400" dirty="0" smtClean="0"/>
            <a:t>Drag&amp;Drop</a:t>
          </a:r>
          <a:endParaRPr lang="en-US" sz="1400" dirty="0"/>
        </a:p>
      </dgm:t>
    </dgm:pt>
    <dgm:pt modelId="{08772321-90E1-4D83-977F-E785CADBBC7B}" type="parTrans" cxnId="{2D986F2E-0A29-408F-B770-60D34267090B}">
      <dgm:prSet/>
      <dgm:spPr/>
      <dgm:t>
        <a:bodyPr/>
        <a:lstStyle/>
        <a:p>
          <a:endParaRPr lang="en-US"/>
        </a:p>
      </dgm:t>
    </dgm:pt>
    <dgm:pt modelId="{8CE4B285-0652-4C29-A487-E9BED663750C}" type="sibTrans" cxnId="{2D986F2E-0A29-408F-B770-60D34267090B}">
      <dgm:prSet/>
      <dgm:spPr/>
      <dgm:t>
        <a:bodyPr/>
        <a:lstStyle/>
        <a:p>
          <a:endParaRPr lang="en-US"/>
        </a:p>
      </dgm:t>
    </dgm:pt>
    <dgm:pt modelId="{3764C393-0FEB-4FBE-B381-9EABE5CEB9B0}">
      <dgm:prSet custT="1"/>
      <dgm:spPr/>
      <dgm:t>
        <a:bodyPr/>
        <a:lstStyle/>
        <a:p>
          <a:r>
            <a:rPr lang="en-US" sz="1400" dirty="0" smtClean="0"/>
            <a:t>File API</a:t>
          </a:r>
          <a:endParaRPr lang="en-US" sz="1400" dirty="0"/>
        </a:p>
      </dgm:t>
    </dgm:pt>
    <dgm:pt modelId="{9323CBD4-16FD-45A2-851D-FF548751438E}" type="parTrans" cxnId="{A739B9A5-16BD-4424-822C-5BB8BC3EC751}">
      <dgm:prSet/>
      <dgm:spPr/>
      <dgm:t>
        <a:bodyPr/>
        <a:lstStyle/>
        <a:p>
          <a:endParaRPr lang="en-US"/>
        </a:p>
      </dgm:t>
    </dgm:pt>
    <dgm:pt modelId="{5C74C30F-982F-4550-A770-D30CADE9C1EC}" type="sibTrans" cxnId="{A739B9A5-16BD-4424-822C-5BB8BC3EC751}">
      <dgm:prSet/>
      <dgm:spPr/>
      <dgm:t>
        <a:bodyPr/>
        <a:lstStyle/>
        <a:p>
          <a:endParaRPr lang="en-US"/>
        </a:p>
      </dgm:t>
    </dgm:pt>
    <dgm:pt modelId="{477F4E4C-967F-471D-8AD2-027E3486E75D}">
      <dgm:prSet custT="1"/>
      <dgm:spPr/>
      <dgm:t>
        <a:bodyPr/>
        <a:lstStyle/>
        <a:p>
          <a:r>
            <a:rPr lang="en-US" sz="1400" dirty="0" smtClean="0"/>
            <a:t>Forms Validation</a:t>
          </a:r>
          <a:endParaRPr lang="en-US" sz="1400" dirty="0"/>
        </a:p>
      </dgm:t>
    </dgm:pt>
    <dgm:pt modelId="{0771F056-4639-453F-92E8-CAC3CDBF14DD}" type="parTrans" cxnId="{A8142445-1109-4CE0-9263-9CC441CB2E13}">
      <dgm:prSet/>
      <dgm:spPr/>
      <dgm:t>
        <a:bodyPr/>
        <a:lstStyle/>
        <a:p>
          <a:endParaRPr lang="en-US"/>
        </a:p>
      </dgm:t>
    </dgm:pt>
    <dgm:pt modelId="{205B74B1-51B7-446F-BB27-BE5172BBB9EE}" type="sibTrans" cxnId="{A8142445-1109-4CE0-9263-9CC441CB2E13}">
      <dgm:prSet/>
      <dgm:spPr/>
      <dgm:t>
        <a:bodyPr/>
        <a:lstStyle/>
        <a:p>
          <a:endParaRPr lang="en-US"/>
        </a:p>
      </dgm:t>
    </dgm:pt>
    <dgm:pt modelId="{ADEFD311-50DC-4CE2-8C60-50C7D18A7DDE}">
      <dgm:prSet custT="1"/>
      <dgm:spPr/>
      <dgm:t>
        <a:bodyPr/>
        <a:lstStyle/>
        <a:p>
          <a:r>
            <a:rPr lang="en-US" sz="1400" dirty="0" smtClean="0"/>
            <a:t>History</a:t>
          </a:r>
          <a:endParaRPr lang="en-US" sz="1400" dirty="0"/>
        </a:p>
      </dgm:t>
    </dgm:pt>
    <dgm:pt modelId="{ACE7B768-CAB1-4B79-9A76-98E383E14486}" type="parTrans" cxnId="{B0E90147-F911-4A93-BB39-52AEFA3CE35D}">
      <dgm:prSet/>
      <dgm:spPr/>
      <dgm:t>
        <a:bodyPr/>
        <a:lstStyle/>
        <a:p>
          <a:endParaRPr lang="en-US"/>
        </a:p>
      </dgm:t>
    </dgm:pt>
    <dgm:pt modelId="{8E5D8699-106D-4E5D-832F-BC2D4C2636C2}" type="sibTrans" cxnId="{B0E90147-F911-4A93-BB39-52AEFA3CE35D}">
      <dgm:prSet/>
      <dgm:spPr/>
      <dgm:t>
        <a:bodyPr/>
        <a:lstStyle/>
        <a:p>
          <a:endParaRPr lang="en-US"/>
        </a:p>
      </dgm:t>
    </dgm:pt>
    <dgm:pt modelId="{F7A332E5-2197-4E48-A22A-00D343874B28}">
      <dgm:prSet custT="1"/>
      <dgm:spPr/>
      <dgm:t>
        <a:bodyPr/>
        <a:lstStyle/>
        <a:p>
          <a:r>
            <a:rPr lang="en-US" sz="1400" dirty="0" smtClean="0"/>
            <a:t>IndexedDB</a:t>
          </a:r>
          <a:endParaRPr lang="en-US" sz="1400" dirty="0"/>
        </a:p>
      </dgm:t>
    </dgm:pt>
    <dgm:pt modelId="{1E206BC7-8009-421F-8728-EA254C1CC824}" type="parTrans" cxnId="{410391E4-2FD8-4365-A47B-3F122EF06110}">
      <dgm:prSet/>
      <dgm:spPr/>
      <dgm:t>
        <a:bodyPr/>
        <a:lstStyle/>
        <a:p>
          <a:endParaRPr lang="en-US"/>
        </a:p>
      </dgm:t>
    </dgm:pt>
    <dgm:pt modelId="{BF4F3CBC-9EF7-4BCB-A27C-E1F0FBE9F8D5}" type="sibTrans" cxnId="{410391E4-2FD8-4365-A47B-3F122EF06110}">
      <dgm:prSet/>
      <dgm:spPr/>
      <dgm:t>
        <a:bodyPr/>
        <a:lstStyle/>
        <a:p>
          <a:endParaRPr lang="en-US"/>
        </a:p>
      </dgm:t>
    </dgm:pt>
    <dgm:pt modelId="{06032406-7161-4377-A67D-6D63ADB28D03}">
      <dgm:prSet custT="1"/>
      <dgm:spPr/>
      <dgm:t>
        <a:bodyPr/>
        <a:lstStyle/>
        <a:p>
          <a:r>
            <a:rPr lang="en-US" sz="1400" dirty="0" smtClean="0"/>
            <a:t>Sandbox</a:t>
          </a:r>
          <a:endParaRPr lang="en-US" sz="1400" dirty="0"/>
        </a:p>
      </dgm:t>
    </dgm:pt>
    <dgm:pt modelId="{5CA2174A-6E6C-4BC3-927F-EF83F38049CE}" type="parTrans" cxnId="{39EDFD32-3F6A-4050-973E-D1DD8EECCD66}">
      <dgm:prSet/>
      <dgm:spPr/>
      <dgm:t>
        <a:bodyPr/>
        <a:lstStyle/>
        <a:p>
          <a:endParaRPr lang="en-US"/>
        </a:p>
      </dgm:t>
    </dgm:pt>
    <dgm:pt modelId="{942D9B54-0C37-4C97-AEFA-C499C4E2FF52}" type="sibTrans" cxnId="{39EDFD32-3F6A-4050-973E-D1DD8EECCD66}">
      <dgm:prSet/>
      <dgm:spPr/>
      <dgm:t>
        <a:bodyPr/>
        <a:lstStyle/>
        <a:p>
          <a:endParaRPr lang="en-US"/>
        </a:p>
      </dgm:t>
    </dgm:pt>
    <dgm:pt modelId="{74C7530C-EE9A-4FCD-821E-5D748F14A0B8}">
      <dgm:prSet custT="1"/>
      <dgm:spPr/>
      <dgm:t>
        <a:bodyPr/>
        <a:lstStyle/>
        <a:p>
          <a:r>
            <a:rPr lang="en-US" sz="1400" dirty="0" smtClean="0"/>
            <a:t>Web Sockets</a:t>
          </a:r>
          <a:endParaRPr lang="en-US" sz="1400" dirty="0"/>
        </a:p>
      </dgm:t>
    </dgm:pt>
    <dgm:pt modelId="{9DDC9E31-0E25-49E6-BEEC-B7B74B1BA731}" type="parTrans" cxnId="{08E5B9A9-0C07-4F30-BEA6-31D267FF9E1D}">
      <dgm:prSet/>
      <dgm:spPr/>
      <dgm:t>
        <a:bodyPr/>
        <a:lstStyle/>
        <a:p>
          <a:endParaRPr lang="en-US"/>
        </a:p>
      </dgm:t>
    </dgm:pt>
    <dgm:pt modelId="{AF9287CB-BEFD-4D0D-B243-07BC0B797C7E}" type="sibTrans" cxnId="{08E5B9A9-0C07-4F30-BEA6-31D267FF9E1D}">
      <dgm:prSet/>
      <dgm:spPr/>
      <dgm:t>
        <a:bodyPr/>
        <a:lstStyle/>
        <a:p>
          <a:endParaRPr lang="en-US"/>
        </a:p>
      </dgm:t>
    </dgm:pt>
    <dgm:pt modelId="{D65AC5BE-0BF4-4407-9738-0968A3B3A8F1}">
      <dgm:prSet custT="1"/>
      <dgm:spPr/>
      <dgm:t>
        <a:bodyPr/>
        <a:lstStyle/>
        <a:p>
          <a:r>
            <a:rPr lang="en-US" sz="1400" dirty="0" smtClean="0"/>
            <a:t>Web Workers</a:t>
          </a:r>
          <a:endParaRPr lang="en-US" sz="1400" dirty="0"/>
        </a:p>
      </dgm:t>
    </dgm:pt>
    <dgm:pt modelId="{0B97C581-6FCC-46EB-B5E4-B8890E9F21CC}" type="parTrans" cxnId="{A3756396-C550-4AD4-A480-325DB3DA25FA}">
      <dgm:prSet/>
      <dgm:spPr/>
      <dgm:t>
        <a:bodyPr/>
        <a:lstStyle/>
        <a:p>
          <a:endParaRPr lang="en-US"/>
        </a:p>
      </dgm:t>
    </dgm:pt>
    <dgm:pt modelId="{489A4E6F-01A6-4621-8359-2864619BB33A}" type="sibTrans" cxnId="{A3756396-C550-4AD4-A480-325DB3DA25FA}">
      <dgm:prSet/>
      <dgm:spPr/>
      <dgm:t>
        <a:bodyPr/>
        <a:lstStyle/>
        <a:p>
          <a:endParaRPr lang="en-US"/>
        </a:p>
      </dgm:t>
    </dgm:pt>
    <dgm:pt modelId="{B9897FC4-F6F9-46D0-9029-27E9EF49E5FB}">
      <dgm:prSet custT="1"/>
      <dgm:spPr/>
      <dgm:t>
        <a:bodyPr/>
        <a:lstStyle/>
        <a:p>
          <a:r>
            <a:rPr lang="en-US" sz="1400" smtClean="0"/>
            <a:t>3D Transforms</a:t>
          </a:r>
          <a:endParaRPr lang="en-US" sz="1400" dirty="0"/>
        </a:p>
      </dgm:t>
    </dgm:pt>
    <dgm:pt modelId="{EC4A68A2-AB04-458F-AB4D-8A88C2015382}" type="parTrans" cxnId="{2AB8E7E3-9AC7-411D-93EB-913A2A7B9E8C}">
      <dgm:prSet/>
      <dgm:spPr/>
      <dgm:t>
        <a:bodyPr/>
        <a:lstStyle/>
        <a:p>
          <a:endParaRPr lang="en-US"/>
        </a:p>
      </dgm:t>
    </dgm:pt>
    <dgm:pt modelId="{CD64F2B6-A94D-4363-8A23-3290A15A753B}" type="sibTrans" cxnId="{2AB8E7E3-9AC7-411D-93EB-913A2A7B9E8C}">
      <dgm:prSet/>
      <dgm:spPr/>
      <dgm:t>
        <a:bodyPr/>
        <a:lstStyle/>
        <a:p>
          <a:endParaRPr lang="en-US"/>
        </a:p>
      </dgm:t>
    </dgm:pt>
    <dgm:pt modelId="{3CB3338D-F444-4A46-B5A7-27DA8A12EBF8}">
      <dgm:prSet custT="1"/>
      <dgm:spPr/>
      <dgm:t>
        <a:bodyPr/>
        <a:lstStyle/>
        <a:p>
          <a:r>
            <a:rPr lang="en-US" sz="1400" dirty="0" smtClean="0"/>
            <a:t>Animations</a:t>
          </a:r>
          <a:endParaRPr lang="en-US" sz="1400" dirty="0"/>
        </a:p>
      </dgm:t>
    </dgm:pt>
    <dgm:pt modelId="{9286CBC1-6A20-4713-A563-86701F89951B}" type="parTrans" cxnId="{1EAF5B61-1A3C-4F53-8E94-1FF5BC80A003}">
      <dgm:prSet/>
      <dgm:spPr/>
      <dgm:t>
        <a:bodyPr/>
        <a:lstStyle/>
        <a:p>
          <a:endParaRPr lang="en-US"/>
        </a:p>
      </dgm:t>
    </dgm:pt>
    <dgm:pt modelId="{710B9B44-919C-49E2-90D4-9AECA4B8C6A5}" type="sibTrans" cxnId="{1EAF5B61-1A3C-4F53-8E94-1FF5BC80A003}">
      <dgm:prSet/>
      <dgm:spPr/>
      <dgm:t>
        <a:bodyPr/>
        <a:lstStyle/>
        <a:p>
          <a:endParaRPr lang="en-US"/>
        </a:p>
      </dgm:t>
    </dgm:pt>
    <dgm:pt modelId="{5C9696EE-E9B1-45F8-88BD-CBFBE8002D16}">
      <dgm:prSet custT="1"/>
      <dgm:spPr/>
      <dgm:t>
        <a:bodyPr/>
        <a:lstStyle/>
        <a:p>
          <a:r>
            <a:rPr lang="en-US" sz="1400" dirty="0" smtClean="0"/>
            <a:t>Flexible Box</a:t>
          </a:r>
          <a:endParaRPr lang="en-US" sz="1400" dirty="0"/>
        </a:p>
      </dgm:t>
    </dgm:pt>
    <dgm:pt modelId="{055CA23F-1A65-451D-9B91-FB532A9D35AE}" type="parTrans" cxnId="{0AC5FB7C-9883-429A-9684-42EA4755BDD1}">
      <dgm:prSet/>
      <dgm:spPr/>
      <dgm:t>
        <a:bodyPr/>
        <a:lstStyle/>
        <a:p>
          <a:endParaRPr lang="en-US"/>
        </a:p>
      </dgm:t>
    </dgm:pt>
    <dgm:pt modelId="{2A0DABE4-8EFF-4D7D-8D4E-A86046FB1560}" type="sibTrans" cxnId="{0AC5FB7C-9883-429A-9684-42EA4755BDD1}">
      <dgm:prSet/>
      <dgm:spPr/>
      <dgm:t>
        <a:bodyPr/>
        <a:lstStyle/>
        <a:p>
          <a:endParaRPr lang="en-US"/>
        </a:p>
      </dgm:t>
    </dgm:pt>
    <dgm:pt modelId="{3A3EDADF-3F68-4676-A943-22A476BB97CF}">
      <dgm:prSet custT="1"/>
      <dgm:spPr/>
      <dgm:t>
        <a:bodyPr/>
        <a:lstStyle/>
        <a:p>
          <a:r>
            <a:rPr lang="en-US" sz="1400" dirty="0" smtClean="0"/>
            <a:t>Floats</a:t>
          </a:r>
          <a:endParaRPr lang="en-US" sz="1400" dirty="0"/>
        </a:p>
      </dgm:t>
    </dgm:pt>
    <dgm:pt modelId="{9B9CD02E-8031-4597-8A29-7B30CB969042}" type="parTrans" cxnId="{571FD98B-D5AC-44B3-A1A0-DC4058F78424}">
      <dgm:prSet/>
      <dgm:spPr/>
      <dgm:t>
        <a:bodyPr/>
        <a:lstStyle/>
        <a:p>
          <a:endParaRPr lang="en-US"/>
        </a:p>
      </dgm:t>
    </dgm:pt>
    <dgm:pt modelId="{83AA66D7-5C5A-4602-B5F7-429BE551A362}" type="sibTrans" cxnId="{571FD98B-D5AC-44B3-A1A0-DC4058F78424}">
      <dgm:prSet/>
      <dgm:spPr/>
      <dgm:t>
        <a:bodyPr/>
        <a:lstStyle/>
        <a:p>
          <a:endParaRPr lang="en-US"/>
        </a:p>
      </dgm:t>
    </dgm:pt>
    <dgm:pt modelId="{A93571A0-6941-435D-A794-5F94D4436840}">
      <dgm:prSet custT="1"/>
      <dgm:spPr/>
      <dgm:t>
        <a:bodyPr/>
        <a:lstStyle/>
        <a:p>
          <a:r>
            <a:rPr lang="en-US" sz="1400" dirty="0" smtClean="0"/>
            <a:t>Gradient</a:t>
          </a:r>
          <a:endParaRPr lang="en-US" sz="1400" dirty="0"/>
        </a:p>
      </dgm:t>
    </dgm:pt>
    <dgm:pt modelId="{A2B8470D-4ACD-46F7-BB89-8C4369FA9C7D}" type="parTrans" cxnId="{26CF582E-2276-4337-8F4C-1778CE295683}">
      <dgm:prSet/>
      <dgm:spPr/>
      <dgm:t>
        <a:bodyPr/>
        <a:lstStyle/>
        <a:p>
          <a:endParaRPr lang="en-US"/>
        </a:p>
      </dgm:t>
    </dgm:pt>
    <dgm:pt modelId="{19C46C3F-8939-4519-A1ED-8819D21E7923}" type="sibTrans" cxnId="{26CF582E-2276-4337-8F4C-1778CE295683}">
      <dgm:prSet/>
      <dgm:spPr/>
      <dgm:t>
        <a:bodyPr/>
        <a:lstStyle/>
        <a:p>
          <a:endParaRPr lang="en-US"/>
        </a:p>
      </dgm:t>
    </dgm:pt>
    <dgm:pt modelId="{BDF47549-B404-40F2-B1EC-0E467C1DA8B0}">
      <dgm:prSet custT="1"/>
      <dgm:spPr/>
      <dgm:t>
        <a:bodyPr/>
        <a:lstStyle/>
        <a:p>
          <a:r>
            <a:rPr lang="en-US" sz="1400" dirty="0" smtClean="0"/>
            <a:t>Grid</a:t>
          </a:r>
          <a:endParaRPr lang="en-US" sz="1400" dirty="0"/>
        </a:p>
      </dgm:t>
    </dgm:pt>
    <dgm:pt modelId="{89CDC4AD-9A0B-476D-BB40-42F713EA555B}" type="parTrans" cxnId="{09B82E2F-D9E2-49E7-89E9-A05304BC0626}">
      <dgm:prSet/>
      <dgm:spPr/>
      <dgm:t>
        <a:bodyPr/>
        <a:lstStyle/>
        <a:p>
          <a:endParaRPr lang="en-US"/>
        </a:p>
      </dgm:t>
    </dgm:pt>
    <dgm:pt modelId="{19BF50F3-D780-40C2-A133-B38B59D3E4CA}" type="sibTrans" cxnId="{09B82E2F-D9E2-49E7-89E9-A05304BC0626}">
      <dgm:prSet/>
      <dgm:spPr/>
      <dgm:t>
        <a:bodyPr/>
        <a:lstStyle/>
        <a:p>
          <a:endParaRPr lang="en-US"/>
        </a:p>
      </dgm:t>
    </dgm:pt>
    <dgm:pt modelId="{4E11F795-4B2C-4E0C-9F3D-8FBD0F014BA4}">
      <dgm:prSet custT="1"/>
      <dgm:spPr/>
      <dgm:t>
        <a:bodyPr/>
        <a:lstStyle/>
        <a:p>
          <a:r>
            <a:rPr lang="en-US" sz="1400" dirty="0" smtClean="0"/>
            <a:t>Multi-Column</a:t>
          </a:r>
          <a:endParaRPr lang="en-US" sz="1400" dirty="0"/>
        </a:p>
      </dgm:t>
    </dgm:pt>
    <dgm:pt modelId="{CB64214B-1B87-4AAF-81A0-B19AA3D6F214}" type="parTrans" cxnId="{5362BE73-7A9A-4C0C-AC4D-C56758D4D660}">
      <dgm:prSet/>
      <dgm:spPr/>
      <dgm:t>
        <a:bodyPr/>
        <a:lstStyle/>
        <a:p>
          <a:endParaRPr lang="en-US"/>
        </a:p>
      </dgm:t>
    </dgm:pt>
    <dgm:pt modelId="{118120FC-7749-4F46-9CF1-7EFF54FD25D1}" type="sibTrans" cxnId="{5362BE73-7A9A-4C0C-AC4D-C56758D4D660}">
      <dgm:prSet/>
      <dgm:spPr/>
      <dgm:t>
        <a:bodyPr/>
        <a:lstStyle/>
        <a:p>
          <a:endParaRPr lang="en-US"/>
        </a:p>
      </dgm:t>
    </dgm:pt>
    <dgm:pt modelId="{E955514E-48DE-4097-94EA-43E74344E48B}">
      <dgm:prSet custT="1"/>
      <dgm:spPr/>
      <dgm:t>
        <a:bodyPr/>
        <a:lstStyle/>
        <a:p>
          <a:r>
            <a:rPr lang="en-US" sz="1400" dirty="0" smtClean="0"/>
            <a:t>Region</a:t>
          </a:r>
          <a:endParaRPr lang="en-US" sz="1400" dirty="0"/>
        </a:p>
      </dgm:t>
    </dgm:pt>
    <dgm:pt modelId="{8F751280-4AF3-43EE-8640-C24B79FF6A28}" type="parTrans" cxnId="{698A5EB1-6459-4D50-8863-AC56089E1D26}">
      <dgm:prSet/>
      <dgm:spPr/>
      <dgm:t>
        <a:bodyPr/>
        <a:lstStyle/>
        <a:p>
          <a:endParaRPr lang="en-US"/>
        </a:p>
      </dgm:t>
    </dgm:pt>
    <dgm:pt modelId="{93D0A72C-84B6-4F29-B295-97CA363454B2}" type="sibTrans" cxnId="{698A5EB1-6459-4D50-8863-AC56089E1D26}">
      <dgm:prSet/>
      <dgm:spPr/>
      <dgm:t>
        <a:bodyPr/>
        <a:lstStyle/>
        <a:p>
          <a:endParaRPr lang="en-US"/>
        </a:p>
      </dgm:t>
    </dgm:pt>
    <dgm:pt modelId="{E813EC0E-0087-455A-B52D-F8EBA910AA5E}">
      <dgm:prSet custT="1"/>
      <dgm:spPr/>
      <dgm:t>
        <a:bodyPr/>
        <a:lstStyle/>
        <a:p>
          <a:r>
            <a:rPr lang="en-US" sz="1400" dirty="0" smtClean="0"/>
            <a:t>SVG Filter Effects</a:t>
          </a:r>
          <a:endParaRPr lang="en-US" sz="1400" dirty="0"/>
        </a:p>
      </dgm:t>
    </dgm:pt>
    <dgm:pt modelId="{597B1E0F-9DC8-4D89-9B22-496E51949373}" type="parTrans" cxnId="{E9CE002E-B71A-4CC8-809C-416F622DC210}">
      <dgm:prSet/>
      <dgm:spPr/>
      <dgm:t>
        <a:bodyPr/>
        <a:lstStyle/>
        <a:p>
          <a:endParaRPr lang="en-US"/>
        </a:p>
      </dgm:t>
    </dgm:pt>
    <dgm:pt modelId="{50E3E65D-AD88-410D-8997-F4EDCF77D236}" type="sibTrans" cxnId="{E9CE002E-B71A-4CC8-809C-416F622DC210}">
      <dgm:prSet/>
      <dgm:spPr/>
      <dgm:t>
        <a:bodyPr/>
        <a:lstStyle/>
        <a:p>
          <a:endParaRPr lang="en-US"/>
        </a:p>
      </dgm:t>
    </dgm:pt>
    <dgm:pt modelId="{27AE15B7-4423-4DDD-B73A-E56DC2C83B16}">
      <dgm:prSet custT="1"/>
      <dgm:spPr/>
      <dgm:t>
        <a:bodyPr/>
        <a:lstStyle/>
        <a:p>
          <a:r>
            <a:rPr lang="en-US" sz="1400" dirty="0" smtClean="0"/>
            <a:t>Text Shadow</a:t>
          </a:r>
          <a:endParaRPr lang="en-US" sz="1400" dirty="0"/>
        </a:p>
      </dgm:t>
    </dgm:pt>
    <dgm:pt modelId="{CAB953AD-F4AF-4561-AE59-F1605F59457A}" type="parTrans" cxnId="{937AE388-72EF-48D9-B73D-2BCB1AC59D7B}">
      <dgm:prSet/>
      <dgm:spPr/>
      <dgm:t>
        <a:bodyPr/>
        <a:lstStyle/>
        <a:p>
          <a:endParaRPr lang="en-US"/>
        </a:p>
      </dgm:t>
    </dgm:pt>
    <dgm:pt modelId="{D728D3F3-1207-48FD-9E4F-5774C5F82621}" type="sibTrans" cxnId="{937AE388-72EF-48D9-B73D-2BCB1AC59D7B}">
      <dgm:prSet/>
      <dgm:spPr/>
      <dgm:t>
        <a:bodyPr/>
        <a:lstStyle/>
        <a:p>
          <a:endParaRPr lang="en-US"/>
        </a:p>
      </dgm:t>
    </dgm:pt>
    <dgm:pt modelId="{383DCAA9-12A0-4723-85E5-B317A3686A1D}">
      <dgm:prSet custT="1"/>
      <dgm:spPr/>
      <dgm:t>
        <a:bodyPr/>
        <a:lstStyle/>
        <a:p>
          <a:r>
            <a:rPr lang="en-US" sz="1400" dirty="0" smtClean="0"/>
            <a:t>Transitions</a:t>
          </a:r>
          <a:endParaRPr lang="en-US" sz="1400" dirty="0"/>
        </a:p>
      </dgm:t>
    </dgm:pt>
    <dgm:pt modelId="{D8E88335-D75E-4902-87EC-88FD4F3D18FE}" type="parTrans" cxnId="{2C2126FB-2BF6-4F3D-B76F-C14C1F54FFD9}">
      <dgm:prSet/>
      <dgm:spPr/>
      <dgm:t>
        <a:bodyPr/>
        <a:lstStyle/>
        <a:p>
          <a:endParaRPr lang="en-US"/>
        </a:p>
      </dgm:t>
    </dgm:pt>
    <dgm:pt modelId="{CFE3FC77-1112-498A-B0B0-13E0FF755E0D}" type="sibTrans" cxnId="{2C2126FB-2BF6-4F3D-B76F-C14C1F54FFD9}">
      <dgm:prSet/>
      <dgm:spPr/>
      <dgm:t>
        <a:bodyPr/>
        <a:lstStyle/>
        <a:p>
          <a:endParaRPr lang="en-US"/>
        </a:p>
      </dgm:t>
    </dgm:pt>
    <dgm:pt modelId="{EB637E1B-4860-49DA-9AD9-025CCC76322E}">
      <dgm:prSet custT="1"/>
      <dgm:spPr/>
      <dgm:t>
        <a:bodyPr/>
        <a:lstStyle/>
        <a:p>
          <a:r>
            <a:rPr lang="en-US" sz="1400" smtClean="0"/>
            <a:t>Advanced Hit Testing APIs</a:t>
          </a:r>
          <a:endParaRPr lang="en-US" sz="1400" dirty="0"/>
        </a:p>
      </dgm:t>
    </dgm:pt>
    <dgm:pt modelId="{191D6D36-5D2D-4ECD-8334-5354E611925E}" type="parTrans" cxnId="{4C40F253-DF75-4B02-B3F2-925B2C8E544A}">
      <dgm:prSet/>
      <dgm:spPr/>
      <dgm:t>
        <a:bodyPr/>
        <a:lstStyle/>
        <a:p>
          <a:endParaRPr lang="en-US"/>
        </a:p>
      </dgm:t>
    </dgm:pt>
    <dgm:pt modelId="{F8A231B3-8B30-4804-BF10-279E38EA3B2F}" type="sibTrans" cxnId="{4C40F253-DF75-4B02-B3F2-925B2C8E544A}">
      <dgm:prSet/>
      <dgm:spPr/>
      <dgm:t>
        <a:bodyPr/>
        <a:lstStyle/>
        <a:p>
          <a:endParaRPr lang="en-US"/>
        </a:p>
      </dgm:t>
    </dgm:pt>
    <dgm:pt modelId="{2E521548-5CA7-42A8-873E-2140BDEFFD80}">
      <dgm:prSet custT="1"/>
      <dgm:spPr/>
      <dgm:t>
        <a:bodyPr/>
        <a:lstStyle/>
        <a:p>
          <a:r>
            <a:rPr lang="en-US" sz="1400" dirty="0" smtClean="0"/>
            <a:t>Async</a:t>
          </a:r>
          <a:endParaRPr lang="en-US" sz="1400" dirty="0"/>
        </a:p>
      </dgm:t>
    </dgm:pt>
    <dgm:pt modelId="{4034674D-FE14-4981-864A-D6466ADE6420}" type="parTrans" cxnId="{FE616802-59B3-4C4A-99F0-F571D26BA463}">
      <dgm:prSet/>
      <dgm:spPr/>
      <dgm:t>
        <a:bodyPr/>
        <a:lstStyle/>
        <a:p>
          <a:endParaRPr lang="en-US"/>
        </a:p>
      </dgm:t>
    </dgm:pt>
    <dgm:pt modelId="{63BEA7ED-9402-4A75-A1E9-A8CE71023CA4}" type="sibTrans" cxnId="{FE616802-59B3-4C4A-99F0-F571D26BA463}">
      <dgm:prSet/>
      <dgm:spPr/>
      <dgm:t>
        <a:bodyPr/>
        <a:lstStyle/>
        <a:p>
          <a:endParaRPr lang="en-US"/>
        </a:p>
      </dgm:t>
    </dgm:pt>
    <dgm:pt modelId="{298C0C24-EF91-44CD-AB7E-79CC1A9657A6}">
      <dgm:prSet custT="1"/>
      <dgm:spPr/>
      <dgm:t>
        <a:bodyPr/>
        <a:lstStyle/>
        <a:p>
          <a:r>
            <a:rPr lang="en-US" sz="1400" dirty="0" smtClean="0"/>
            <a:t>Media Queries Listeners</a:t>
          </a:r>
          <a:endParaRPr lang="en-US" sz="1400" dirty="0"/>
        </a:p>
      </dgm:t>
    </dgm:pt>
    <dgm:pt modelId="{A7CDDB3A-6EA9-4DF1-9854-8FF8C0BEE2D5}" type="parTrans" cxnId="{9D58CA67-3CB5-4336-B75E-9269A1B60D03}">
      <dgm:prSet/>
      <dgm:spPr/>
      <dgm:t>
        <a:bodyPr/>
        <a:lstStyle/>
        <a:p>
          <a:endParaRPr lang="en-US"/>
        </a:p>
      </dgm:t>
    </dgm:pt>
    <dgm:pt modelId="{28D38C98-A428-45AF-88E5-30E76FE4F611}" type="sibTrans" cxnId="{9D58CA67-3CB5-4336-B75E-9269A1B60D03}">
      <dgm:prSet/>
      <dgm:spPr/>
      <dgm:t>
        <a:bodyPr/>
        <a:lstStyle/>
        <a:p>
          <a:endParaRPr lang="en-US"/>
        </a:p>
      </dgm:t>
    </dgm:pt>
    <dgm:pt modelId="{F8EF3940-FDEC-4EB4-8D78-665BDB4814C2}">
      <dgm:prSet custT="1"/>
      <dgm:spPr/>
      <dgm:t>
        <a:bodyPr/>
        <a:lstStyle/>
        <a:p>
          <a:r>
            <a:rPr lang="en-US" sz="1400" dirty="0" smtClean="0"/>
            <a:t>Web Performance APIs</a:t>
          </a:r>
          <a:endParaRPr lang="en-US" sz="1400" dirty="0"/>
        </a:p>
      </dgm:t>
    </dgm:pt>
    <dgm:pt modelId="{88139941-69EE-458C-90B7-F59BCDC2A3B6}" type="parTrans" cxnId="{054DDDA2-91F8-4A65-B186-898FFA84A97E}">
      <dgm:prSet/>
      <dgm:spPr/>
      <dgm:t>
        <a:bodyPr/>
        <a:lstStyle/>
        <a:p>
          <a:endParaRPr lang="en-US"/>
        </a:p>
      </dgm:t>
    </dgm:pt>
    <dgm:pt modelId="{D44AFFEF-75C2-465C-90EC-22F78CDF6C48}" type="sibTrans" cxnId="{054DDDA2-91F8-4A65-B186-898FFA84A97E}">
      <dgm:prSet/>
      <dgm:spPr/>
      <dgm:t>
        <a:bodyPr/>
        <a:lstStyle/>
        <a:p>
          <a:endParaRPr lang="en-US"/>
        </a:p>
      </dgm:t>
    </dgm:pt>
    <dgm:pt modelId="{643363C9-CE12-45CB-B688-AE2C466F414C}" type="pres">
      <dgm:prSet presAssocID="{8FBD89BA-7D94-4C4D-891E-8843441756E6}" presName="Name0" presStyleCnt="0">
        <dgm:presLayoutVars>
          <dgm:dir/>
          <dgm:animLvl val="lvl"/>
          <dgm:resizeHandles val="exact"/>
        </dgm:presLayoutVars>
      </dgm:prSet>
      <dgm:spPr/>
      <dgm:t>
        <a:bodyPr/>
        <a:lstStyle/>
        <a:p>
          <a:endParaRPr lang="en-US"/>
        </a:p>
      </dgm:t>
    </dgm:pt>
    <dgm:pt modelId="{56E7C06B-CC7E-451A-AA3B-D2B0C4CB3083}" type="pres">
      <dgm:prSet presAssocID="{938BAF04-8C32-49B4-AF44-67B708B3BBA7}" presName="composite" presStyleCnt="0"/>
      <dgm:spPr/>
    </dgm:pt>
    <dgm:pt modelId="{3F715135-CADA-4BA1-A95A-C4F4320C31F3}" type="pres">
      <dgm:prSet presAssocID="{938BAF04-8C32-49B4-AF44-67B708B3BBA7}" presName="parTx" presStyleLbl="alignNode1" presStyleIdx="0" presStyleCnt="3" custScaleY="100000">
        <dgm:presLayoutVars>
          <dgm:chMax val="0"/>
          <dgm:chPref val="0"/>
          <dgm:bulletEnabled val="1"/>
        </dgm:presLayoutVars>
      </dgm:prSet>
      <dgm:spPr/>
      <dgm:t>
        <a:bodyPr/>
        <a:lstStyle/>
        <a:p>
          <a:endParaRPr lang="en-US"/>
        </a:p>
      </dgm:t>
    </dgm:pt>
    <dgm:pt modelId="{C2AD3F30-0B62-48EE-B779-76E775C50118}" type="pres">
      <dgm:prSet presAssocID="{938BAF04-8C32-49B4-AF44-67B708B3BBA7}" presName="desTx" presStyleLbl="alignAccFollowNode1" presStyleIdx="0" presStyleCnt="3">
        <dgm:presLayoutVars>
          <dgm:bulletEnabled val="1"/>
        </dgm:presLayoutVars>
      </dgm:prSet>
      <dgm:spPr/>
      <dgm:t>
        <a:bodyPr/>
        <a:lstStyle/>
        <a:p>
          <a:endParaRPr lang="en-US"/>
        </a:p>
      </dgm:t>
    </dgm:pt>
    <dgm:pt modelId="{6A4E3EBA-AF72-446E-B920-52AAA55D403A}" type="pres">
      <dgm:prSet presAssocID="{96469623-8790-45DC-A1A7-C10D673B8E85}" presName="space" presStyleCnt="0"/>
      <dgm:spPr/>
    </dgm:pt>
    <dgm:pt modelId="{1916EAE1-3E0D-4086-A95C-B2FB032BF95D}" type="pres">
      <dgm:prSet presAssocID="{6729D171-740B-4728-BFFA-9E2888087C5E}" presName="composite" presStyleCnt="0"/>
      <dgm:spPr/>
    </dgm:pt>
    <dgm:pt modelId="{6842BC1C-71C0-4249-B394-47EBDF957F13}" type="pres">
      <dgm:prSet presAssocID="{6729D171-740B-4728-BFFA-9E2888087C5E}" presName="parTx" presStyleLbl="alignNode1" presStyleIdx="1" presStyleCnt="3" custScaleY="100000">
        <dgm:presLayoutVars>
          <dgm:chMax val="0"/>
          <dgm:chPref val="0"/>
          <dgm:bulletEnabled val="1"/>
        </dgm:presLayoutVars>
      </dgm:prSet>
      <dgm:spPr/>
      <dgm:t>
        <a:bodyPr/>
        <a:lstStyle/>
        <a:p>
          <a:endParaRPr lang="en-US"/>
        </a:p>
      </dgm:t>
    </dgm:pt>
    <dgm:pt modelId="{376716FD-8E0F-4017-8CDF-5C56755866F2}" type="pres">
      <dgm:prSet presAssocID="{6729D171-740B-4728-BFFA-9E2888087C5E}" presName="desTx" presStyleLbl="alignAccFollowNode1" presStyleIdx="1" presStyleCnt="3">
        <dgm:presLayoutVars>
          <dgm:bulletEnabled val="1"/>
        </dgm:presLayoutVars>
      </dgm:prSet>
      <dgm:spPr/>
      <dgm:t>
        <a:bodyPr/>
        <a:lstStyle/>
        <a:p>
          <a:endParaRPr lang="en-US"/>
        </a:p>
      </dgm:t>
    </dgm:pt>
    <dgm:pt modelId="{C7410D29-4130-455D-874B-967D9E05524D}" type="pres">
      <dgm:prSet presAssocID="{7C7F41CC-A0B4-45C9-B558-744BFE3B51B2}" presName="space" presStyleCnt="0"/>
      <dgm:spPr/>
    </dgm:pt>
    <dgm:pt modelId="{86A73DB2-348A-4467-86EA-90D327AF3D7D}" type="pres">
      <dgm:prSet presAssocID="{D4E526EC-DE85-469D-B528-28E45A47AFC1}" presName="composite" presStyleCnt="0"/>
      <dgm:spPr/>
    </dgm:pt>
    <dgm:pt modelId="{D13B5FFE-E3C7-4FC7-87A6-6C9FFABE9737}" type="pres">
      <dgm:prSet presAssocID="{D4E526EC-DE85-469D-B528-28E45A47AFC1}" presName="parTx" presStyleLbl="alignNode1" presStyleIdx="2" presStyleCnt="3" custScaleY="100000">
        <dgm:presLayoutVars>
          <dgm:chMax val="0"/>
          <dgm:chPref val="0"/>
          <dgm:bulletEnabled val="1"/>
        </dgm:presLayoutVars>
      </dgm:prSet>
      <dgm:spPr/>
      <dgm:t>
        <a:bodyPr/>
        <a:lstStyle/>
        <a:p>
          <a:endParaRPr lang="en-US"/>
        </a:p>
      </dgm:t>
    </dgm:pt>
    <dgm:pt modelId="{67C06C98-2178-4960-AA84-C9FB1609E8F2}" type="pres">
      <dgm:prSet presAssocID="{D4E526EC-DE85-469D-B528-28E45A47AFC1}" presName="desTx" presStyleLbl="alignAccFollowNode1" presStyleIdx="2" presStyleCnt="3">
        <dgm:presLayoutVars>
          <dgm:bulletEnabled val="1"/>
        </dgm:presLayoutVars>
      </dgm:prSet>
      <dgm:spPr/>
      <dgm:t>
        <a:bodyPr/>
        <a:lstStyle/>
        <a:p>
          <a:endParaRPr lang="en-US"/>
        </a:p>
      </dgm:t>
    </dgm:pt>
  </dgm:ptLst>
  <dgm:cxnLst>
    <dgm:cxn modelId="{AA79CD9A-0193-47B7-BE00-3610A84D81C4}" srcId="{938BAF04-8C32-49B4-AF44-67B708B3BBA7}" destId="{BE73CCA9-4053-4D8D-A95E-DBD1CA356802}" srcOrd="0" destOrd="0" parTransId="{6D59C0D0-CF88-4DAC-9BD1-7B464D38122C}" sibTransId="{BBCD7570-6E06-401E-8ED3-0C532FDF940C}"/>
    <dgm:cxn modelId="{410E88E5-D337-479C-B8DF-5ED28983DCB2}" type="presOf" srcId="{B9897FC4-F6F9-46D0-9029-27E9EF49E5FB}" destId="{376716FD-8E0F-4017-8CDF-5C56755866F2}" srcOrd="0" destOrd="0" presId="urn:microsoft.com/office/officeart/2005/8/layout/hList1"/>
    <dgm:cxn modelId="{0AFFEEBC-8AD1-458E-9A63-3A749941D80D}" type="presOf" srcId="{ADEFD311-50DC-4CE2-8C60-50C7D18A7DDE}" destId="{C2AD3F30-0B62-48EE-B779-76E775C50118}" srcOrd="0" destOrd="4" presId="urn:microsoft.com/office/officeart/2005/8/layout/hList1"/>
    <dgm:cxn modelId="{828832D2-D6C4-4060-8F9A-3A19BCADD4DE}" type="presOf" srcId="{E813EC0E-0087-455A-B52D-F8EBA910AA5E}" destId="{376716FD-8E0F-4017-8CDF-5C56755866F2}" srcOrd="0" destOrd="8" presId="urn:microsoft.com/office/officeart/2005/8/layout/hList1"/>
    <dgm:cxn modelId="{A9A9319F-49A7-4F0B-B729-FBF3F38A0AEC}" type="presOf" srcId="{E955514E-48DE-4097-94EA-43E74344E48B}" destId="{376716FD-8E0F-4017-8CDF-5C56755866F2}" srcOrd="0" destOrd="7" presId="urn:microsoft.com/office/officeart/2005/8/layout/hList1"/>
    <dgm:cxn modelId="{7C496D1A-CC47-4E76-9851-D7D3537852DB}" type="presOf" srcId="{06032406-7161-4377-A67D-6D63ADB28D03}" destId="{C2AD3F30-0B62-48EE-B779-76E775C50118}" srcOrd="0" destOrd="6" presId="urn:microsoft.com/office/officeart/2005/8/layout/hList1"/>
    <dgm:cxn modelId="{A8142445-1109-4CE0-9263-9CC441CB2E13}" srcId="{938BAF04-8C32-49B4-AF44-67B708B3BBA7}" destId="{477F4E4C-967F-471D-8AD2-027E3486E75D}" srcOrd="3" destOrd="0" parTransId="{0771F056-4639-453F-92E8-CAC3CDBF14DD}" sibTransId="{205B74B1-51B7-446F-BB27-BE5172BBB9EE}"/>
    <dgm:cxn modelId="{054DDDA2-91F8-4A65-B186-898FFA84A97E}" srcId="{D4E526EC-DE85-469D-B528-28E45A47AFC1}" destId="{F8EF3940-FDEC-4EB4-8D78-665BDB4814C2}" srcOrd="3" destOrd="0" parTransId="{88139941-69EE-458C-90B7-F59BCDC2A3B6}" sibTransId="{D44AFFEF-75C2-465C-90EC-22F78CDF6C48}"/>
    <dgm:cxn modelId="{35A15924-9087-4852-A4D5-F5CD83FAECA8}" type="presOf" srcId="{3764C393-0FEB-4FBE-B381-9EABE5CEB9B0}" destId="{C2AD3F30-0B62-48EE-B779-76E775C50118}" srcOrd="0" destOrd="2" presId="urn:microsoft.com/office/officeart/2005/8/layout/hList1"/>
    <dgm:cxn modelId="{9D58CA67-3CB5-4336-B75E-9269A1B60D03}" srcId="{D4E526EC-DE85-469D-B528-28E45A47AFC1}" destId="{298C0C24-EF91-44CD-AB7E-79CC1A9657A6}" srcOrd="2" destOrd="0" parTransId="{A7CDDB3A-6EA9-4DF1-9854-8FF8C0BEE2D5}" sibTransId="{28D38C98-A428-45AF-88E5-30E76FE4F611}"/>
    <dgm:cxn modelId="{571FD98B-D5AC-44B3-A1A0-DC4058F78424}" srcId="{6729D171-740B-4728-BFFA-9E2888087C5E}" destId="{3A3EDADF-3F68-4676-A943-22A476BB97CF}" srcOrd="3" destOrd="0" parTransId="{9B9CD02E-8031-4597-8A29-7B30CB969042}" sibTransId="{83AA66D7-5C5A-4602-B5F7-429BE551A362}"/>
    <dgm:cxn modelId="{9370A8F3-CEF7-4A38-BBBB-EF483BC883CE}" type="presOf" srcId="{BDF47549-B404-40F2-B1EC-0E467C1DA8B0}" destId="{376716FD-8E0F-4017-8CDF-5C56755866F2}" srcOrd="0" destOrd="5" presId="urn:microsoft.com/office/officeart/2005/8/layout/hList1"/>
    <dgm:cxn modelId="{4C40F253-DF75-4B02-B3F2-925B2C8E544A}" srcId="{D4E526EC-DE85-469D-B528-28E45A47AFC1}" destId="{EB637E1B-4860-49DA-9AD9-025CCC76322E}" srcOrd="0" destOrd="0" parTransId="{191D6D36-5D2D-4ECD-8334-5354E611925E}" sibTransId="{F8A231B3-8B30-4804-BF10-279E38EA3B2F}"/>
    <dgm:cxn modelId="{49C49587-AA72-4A11-8391-52B2DDA82DFC}" srcId="{8FBD89BA-7D94-4C4D-891E-8843441756E6}" destId="{D4E526EC-DE85-469D-B528-28E45A47AFC1}" srcOrd="2" destOrd="0" parTransId="{B86ABF4B-4EA9-4F70-96AB-7BB78CF58746}" sibTransId="{897B8F46-7F12-4366-99F5-82E592A32472}"/>
    <dgm:cxn modelId="{5FEE4233-23E7-437F-928E-E9F959AD8472}" type="presOf" srcId="{3A3EDADF-3F68-4676-A943-22A476BB97CF}" destId="{376716FD-8E0F-4017-8CDF-5C56755866F2}" srcOrd="0" destOrd="3" presId="urn:microsoft.com/office/officeart/2005/8/layout/hList1"/>
    <dgm:cxn modelId="{5362BE73-7A9A-4C0C-AC4D-C56758D4D660}" srcId="{6729D171-740B-4728-BFFA-9E2888087C5E}" destId="{4E11F795-4B2C-4E0C-9F3D-8FBD0F014BA4}" srcOrd="6" destOrd="0" parTransId="{CB64214B-1B87-4AAF-81A0-B19AA3D6F214}" sibTransId="{118120FC-7749-4F46-9CF1-7EFF54FD25D1}"/>
    <dgm:cxn modelId="{B3BA42FA-E93F-4885-8A38-99AC460244F6}" type="presOf" srcId="{8FBD89BA-7D94-4C4D-891E-8843441756E6}" destId="{643363C9-CE12-45CB-B688-AE2C466F414C}" srcOrd="0" destOrd="0" presId="urn:microsoft.com/office/officeart/2005/8/layout/hList1"/>
    <dgm:cxn modelId="{FE616802-59B3-4C4A-99F0-F571D26BA463}" srcId="{D4E526EC-DE85-469D-B528-28E45A47AFC1}" destId="{2E521548-5CA7-42A8-873E-2140BDEFFD80}" srcOrd="1" destOrd="0" parTransId="{4034674D-FE14-4981-864A-D6466ADE6420}" sibTransId="{63BEA7ED-9402-4A75-A1E9-A8CE71023CA4}"/>
    <dgm:cxn modelId="{CB404337-EFEB-4187-B4A1-02E178E0EB74}" type="presOf" srcId="{F8EF3940-FDEC-4EB4-8D78-665BDB4814C2}" destId="{67C06C98-2178-4960-AA84-C9FB1609E8F2}" srcOrd="0" destOrd="3" presId="urn:microsoft.com/office/officeart/2005/8/layout/hList1"/>
    <dgm:cxn modelId="{FAC73BF1-7777-4687-B9E2-00D3CDCC600C}" type="presOf" srcId="{27AE15B7-4423-4DDD-B73A-E56DC2C83B16}" destId="{376716FD-8E0F-4017-8CDF-5C56755866F2}" srcOrd="0" destOrd="9" presId="urn:microsoft.com/office/officeart/2005/8/layout/hList1"/>
    <dgm:cxn modelId="{14A5749C-05A7-43D2-9E6B-4A4A41096D5A}" srcId="{8FBD89BA-7D94-4C4D-891E-8843441756E6}" destId="{6729D171-740B-4728-BFFA-9E2888087C5E}" srcOrd="1" destOrd="0" parTransId="{C92468F4-8FBC-44E3-9E25-A80CE010D2F9}" sibTransId="{7C7F41CC-A0B4-45C9-B558-744BFE3B51B2}"/>
    <dgm:cxn modelId="{2C2126FB-2BF6-4F3D-B76F-C14C1F54FFD9}" srcId="{6729D171-740B-4728-BFFA-9E2888087C5E}" destId="{383DCAA9-12A0-4723-85E5-B317A3686A1D}" srcOrd="10" destOrd="0" parTransId="{D8E88335-D75E-4902-87EC-88FD4F3D18FE}" sibTransId="{CFE3FC77-1112-498A-B0B0-13E0FF755E0D}"/>
    <dgm:cxn modelId="{E02F84C6-5962-4069-A259-FF3799190FC8}" type="presOf" srcId="{938BAF04-8C32-49B4-AF44-67B708B3BBA7}" destId="{3F715135-CADA-4BA1-A95A-C4F4320C31F3}" srcOrd="0" destOrd="0" presId="urn:microsoft.com/office/officeart/2005/8/layout/hList1"/>
    <dgm:cxn modelId="{C9580D89-0DC6-4EF6-9A90-3F47355FBC14}" srcId="{8FBD89BA-7D94-4C4D-891E-8843441756E6}" destId="{938BAF04-8C32-49B4-AF44-67B708B3BBA7}" srcOrd="0" destOrd="0" parTransId="{60F8D5F7-0480-4FAE-9596-EED6A507D8D4}" sibTransId="{96469623-8790-45DC-A1A7-C10D673B8E85}"/>
    <dgm:cxn modelId="{7C9890A8-06A3-4C77-B213-187148A80557}" type="presOf" srcId="{4E11F795-4B2C-4E0C-9F3D-8FBD0F014BA4}" destId="{376716FD-8E0F-4017-8CDF-5C56755866F2}" srcOrd="0" destOrd="6" presId="urn:microsoft.com/office/officeart/2005/8/layout/hList1"/>
    <dgm:cxn modelId="{39EDFD32-3F6A-4050-973E-D1DD8EECCD66}" srcId="{938BAF04-8C32-49B4-AF44-67B708B3BBA7}" destId="{06032406-7161-4377-A67D-6D63ADB28D03}" srcOrd="6" destOrd="0" parTransId="{5CA2174A-6E6C-4BC3-927F-EF83F38049CE}" sibTransId="{942D9B54-0C37-4C97-AEFA-C499C4E2FF52}"/>
    <dgm:cxn modelId="{35BA10EB-A8E7-430C-A841-156093EC27AC}" type="presOf" srcId="{3CB3338D-F444-4A46-B5A7-27DA8A12EBF8}" destId="{376716FD-8E0F-4017-8CDF-5C56755866F2}" srcOrd="0" destOrd="1" presId="urn:microsoft.com/office/officeart/2005/8/layout/hList1"/>
    <dgm:cxn modelId="{0AC5FB7C-9883-429A-9684-42EA4755BDD1}" srcId="{6729D171-740B-4728-BFFA-9E2888087C5E}" destId="{5C9696EE-E9B1-45F8-88BD-CBFBE8002D16}" srcOrd="2" destOrd="0" parTransId="{055CA23F-1A65-451D-9B91-FB532A9D35AE}" sibTransId="{2A0DABE4-8EFF-4D7D-8D4E-A86046FB1560}"/>
    <dgm:cxn modelId="{091B148E-9B3C-4DB8-BE16-C05527D5C9C1}" type="presOf" srcId="{E2642DD8-79B7-4B4C-9E1B-07C6DB6C6294}" destId="{C2AD3F30-0B62-48EE-B779-76E775C50118}" srcOrd="0" destOrd="1" presId="urn:microsoft.com/office/officeart/2005/8/layout/hList1"/>
    <dgm:cxn modelId="{22FD0645-9DF2-45A9-9FCD-C11526042874}" type="presOf" srcId="{D65AC5BE-0BF4-4407-9738-0968A3B3A8F1}" destId="{C2AD3F30-0B62-48EE-B779-76E775C50118}" srcOrd="0" destOrd="8" presId="urn:microsoft.com/office/officeart/2005/8/layout/hList1"/>
    <dgm:cxn modelId="{A739B9A5-16BD-4424-822C-5BB8BC3EC751}" srcId="{938BAF04-8C32-49B4-AF44-67B708B3BBA7}" destId="{3764C393-0FEB-4FBE-B381-9EABE5CEB9B0}" srcOrd="2" destOrd="0" parTransId="{9323CBD4-16FD-45A2-851D-FF548751438E}" sibTransId="{5C74C30F-982F-4550-A770-D30CADE9C1EC}"/>
    <dgm:cxn modelId="{A3756396-C550-4AD4-A480-325DB3DA25FA}" srcId="{938BAF04-8C32-49B4-AF44-67B708B3BBA7}" destId="{D65AC5BE-0BF4-4407-9738-0968A3B3A8F1}" srcOrd="8" destOrd="0" parTransId="{0B97C581-6FCC-46EB-B5E4-B8890E9F21CC}" sibTransId="{489A4E6F-01A6-4621-8359-2864619BB33A}"/>
    <dgm:cxn modelId="{2143BABF-FF2A-498A-95D5-C6D2ED270239}" type="presOf" srcId="{BE73CCA9-4053-4D8D-A95E-DBD1CA356802}" destId="{C2AD3F30-0B62-48EE-B779-76E775C50118}" srcOrd="0" destOrd="0" presId="urn:microsoft.com/office/officeart/2005/8/layout/hList1"/>
    <dgm:cxn modelId="{1EAF5B61-1A3C-4F53-8E94-1FF5BC80A003}" srcId="{6729D171-740B-4728-BFFA-9E2888087C5E}" destId="{3CB3338D-F444-4A46-B5A7-27DA8A12EBF8}" srcOrd="1" destOrd="0" parTransId="{9286CBC1-6A20-4713-A563-86701F89951B}" sibTransId="{710B9B44-919C-49E2-90D4-9AECA4B8C6A5}"/>
    <dgm:cxn modelId="{0D235C3A-F86C-421C-ADF7-7250FE31BB0F}" type="presOf" srcId="{383DCAA9-12A0-4723-85E5-B317A3686A1D}" destId="{376716FD-8E0F-4017-8CDF-5C56755866F2}" srcOrd="0" destOrd="10" presId="urn:microsoft.com/office/officeart/2005/8/layout/hList1"/>
    <dgm:cxn modelId="{C1384BDF-A469-42D9-83C0-702E9A2EA56A}" type="presOf" srcId="{5C9696EE-E9B1-45F8-88BD-CBFBE8002D16}" destId="{376716FD-8E0F-4017-8CDF-5C56755866F2}" srcOrd="0" destOrd="2" presId="urn:microsoft.com/office/officeart/2005/8/layout/hList1"/>
    <dgm:cxn modelId="{143CA029-E3E0-4D16-87C8-0B13AD79416F}" type="presOf" srcId="{2E521548-5CA7-42A8-873E-2140BDEFFD80}" destId="{67C06C98-2178-4960-AA84-C9FB1609E8F2}" srcOrd="0" destOrd="1" presId="urn:microsoft.com/office/officeart/2005/8/layout/hList1"/>
    <dgm:cxn modelId="{8F5FBAA8-CB51-4078-B6A1-538D62A09591}" type="presOf" srcId="{477F4E4C-967F-471D-8AD2-027E3486E75D}" destId="{C2AD3F30-0B62-48EE-B779-76E775C50118}" srcOrd="0" destOrd="3" presId="urn:microsoft.com/office/officeart/2005/8/layout/hList1"/>
    <dgm:cxn modelId="{E9CE002E-B71A-4CC8-809C-416F622DC210}" srcId="{6729D171-740B-4728-BFFA-9E2888087C5E}" destId="{E813EC0E-0087-455A-B52D-F8EBA910AA5E}" srcOrd="8" destOrd="0" parTransId="{597B1E0F-9DC8-4D89-9B22-496E51949373}" sibTransId="{50E3E65D-AD88-410D-8997-F4EDCF77D236}"/>
    <dgm:cxn modelId="{94575CAD-B7EB-4647-BC0F-E38E1B21A757}" type="presOf" srcId="{6729D171-740B-4728-BFFA-9E2888087C5E}" destId="{6842BC1C-71C0-4249-B394-47EBDF957F13}" srcOrd="0" destOrd="0" presId="urn:microsoft.com/office/officeart/2005/8/layout/hList1"/>
    <dgm:cxn modelId="{08E5B9A9-0C07-4F30-BEA6-31D267FF9E1D}" srcId="{938BAF04-8C32-49B4-AF44-67B708B3BBA7}" destId="{74C7530C-EE9A-4FCD-821E-5D748F14A0B8}" srcOrd="7" destOrd="0" parTransId="{9DDC9E31-0E25-49E6-BEEC-B7B74B1BA731}" sibTransId="{AF9287CB-BEFD-4D0D-B243-07BC0B797C7E}"/>
    <dgm:cxn modelId="{3246336E-FD42-4167-9D0F-BE00C07EE710}" type="presOf" srcId="{298C0C24-EF91-44CD-AB7E-79CC1A9657A6}" destId="{67C06C98-2178-4960-AA84-C9FB1609E8F2}" srcOrd="0" destOrd="2" presId="urn:microsoft.com/office/officeart/2005/8/layout/hList1"/>
    <dgm:cxn modelId="{B0E90147-F911-4A93-BB39-52AEFA3CE35D}" srcId="{938BAF04-8C32-49B4-AF44-67B708B3BBA7}" destId="{ADEFD311-50DC-4CE2-8C60-50C7D18A7DDE}" srcOrd="4" destOrd="0" parTransId="{ACE7B768-CAB1-4B79-9A76-98E383E14486}" sibTransId="{8E5D8699-106D-4E5D-832F-BC2D4C2636C2}"/>
    <dgm:cxn modelId="{B18AB1E4-3505-4AD6-AA7D-3C89FC3C064F}" type="presOf" srcId="{D4E526EC-DE85-469D-B528-28E45A47AFC1}" destId="{D13B5FFE-E3C7-4FC7-87A6-6C9FFABE9737}" srcOrd="0" destOrd="0" presId="urn:microsoft.com/office/officeart/2005/8/layout/hList1"/>
    <dgm:cxn modelId="{728A988A-7937-4B88-A5C6-510583E6ED6D}" type="presOf" srcId="{A93571A0-6941-435D-A794-5F94D4436840}" destId="{376716FD-8E0F-4017-8CDF-5C56755866F2}" srcOrd="0" destOrd="4" presId="urn:microsoft.com/office/officeart/2005/8/layout/hList1"/>
    <dgm:cxn modelId="{937AE388-72EF-48D9-B73D-2BCB1AC59D7B}" srcId="{6729D171-740B-4728-BFFA-9E2888087C5E}" destId="{27AE15B7-4423-4DDD-B73A-E56DC2C83B16}" srcOrd="9" destOrd="0" parTransId="{CAB953AD-F4AF-4561-AE59-F1605F59457A}" sibTransId="{D728D3F3-1207-48FD-9E4F-5774C5F82621}"/>
    <dgm:cxn modelId="{3E7238BA-37AD-4F68-AF1E-3B5C611A49D8}" type="presOf" srcId="{74C7530C-EE9A-4FCD-821E-5D748F14A0B8}" destId="{C2AD3F30-0B62-48EE-B779-76E775C50118}" srcOrd="0" destOrd="7" presId="urn:microsoft.com/office/officeart/2005/8/layout/hList1"/>
    <dgm:cxn modelId="{2AB8E7E3-9AC7-411D-93EB-913A2A7B9E8C}" srcId="{6729D171-740B-4728-BFFA-9E2888087C5E}" destId="{B9897FC4-F6F9-46D0-9029-27E9EF49E5FB}" srcOrd="0" destOrd="0" parTransId="{EC4A68A2-AB04-458F-AB4D-8A88C2015382}" sibTransId="{CD64F2B6-A94D-4363-8A23-3290A15A753B}"/>
    <dgm:cxn modelId="{B2827824-2136-49A2-84A9-18756699E657}" type="presOf" srcId="{EB637E1B-4860-49DA-9AD9-025CCC76322E}" destId="{67C06C98-2178-4960-AA84-C9FB1609E8F2}" srcOrd="0" destOrd="0" presId="urn:microsoft.com/office/officeart/2005/8/layout/hList1"/>
    <dgm:cxn modelId="{698A5EB1-6459-4D50-8863-AC56089E1D26}" srcId="{6729D171-740B-4728-BFFA-9E2888087C5E}" destId="{E955514E-48DE-4097-94EA-43E74344E48B}" srcOrd="7" destOrd="0" parTransId="{8F751280-4AF3-43EE-8640-C24B79FF6A28}" sibTransId="{93D0A72C-84B6-4F29-B295-97CA363454B2}"/>
    <dgm:cxn modelId="{64CA1487-5FB8-4BD9-8535-BD6BB5D0B9E7}" type="presOf" srcId="{F7A332E5-2197-4E48-A22A-00D343874B28}" destId="{C2AD3F30-0B62-48EE-B779-76E775C50118}" srcOrd="0" destOrd="5" presId="urn:microsoft.com/office/officeart/2005/8/layout/hList1"/>
    <dgm:cxn modelId="{09B82E2F-D9E2-49E7-89E9-A05304BC0626}" srcId="{6729D171-740B-4728-BFFA-9E2888087C5E}" destId="{BDF47549-B404-40F2-B1EC-0E467C1DA8B0}" srcOrd="5" destOrd="0" parTransId="{89CDC4AD-9A0B-476D-BB40-42F713EA555B}" sibTransId="{19BF50F3-D780-40C2-A133-B38B59D3E4CA}"/>
    <dgm:cxn modelId="{2D986F2E-0A29-408F-B770-60D34267090B}" srcId="{938BAF04-8C32-49B4-AF44-67B708B3BBA7}" destId="{E2642DD8-79B7-4B4C-9E1B-07C6DB6C6294}" srcOrd="1" destOrd="0" parTransId="{08772321-90E1-4D83-977F-E785CADBBC7B}" sibTransId="{8CE4B285-0652-4C29-A487-E9BED663750C}"/>
    <dgm:cxn modelId="{26CF582E-2276-4337-8F4C-1778CE295683}" srcId="{6729D171-740B-4728-BFFA-9E2888087C5E}" destId="{A93571A0-6941-435D-A794-5F94D4436840}" srcOrd="4" destOrd="0" parTransId="{A2B8470D-4ACD-46F7-BB89-8C4369FA9C7D}" sibTransId="{19C46C3F-8939-4519-A1ED-8819D21E7923}"/>
    <dgm:cxn modelId="{410391E4-2FD8-4365-A47B-3F122EF06110}" srcId="{938BAF04-8C32-49B4-AF44-67B708B3BBA7}" destId="{F7A332E5-2197-4E48-A22A-00D343874B28}" srcOrd="5" destOrd="0" parTransId="{1E206BC7-8009-421F-8728-EA254C1CC824}" sibTransId="{BF4F3CBC-9EF7-4BCB-A27C-E1F0FBE9F8D5}"/>
    <dgm:cxn modelId="{66040043-671E-42C3-8358-5AAAD83CC03B}" type="presParOf" srcId="{643363C9-CE12-45CB-B688-AE2C466F414C}" destId="{56E7C06B-CC7E-451A-AA3B-D2B0C4CB3083}" srcOrd="0" destOrd="0" presId="urn:microsoft.com/office/officeart/2005/8/layout/hList1"/>
    <dgm:cxn modelId="{601172B9-22E2-4771-874F-C4A6C4C09831}" type="presParOf" srcId="{56E7C06B-CC7E-451A-AA3B-D2B0C4CB3083}" destId="{3F715135-CADA-4BA1-A95A-C4F4320C31F3}" srcOrd="0" destOrd="0" presId="urn:microsoft.com/office/officeart/2005/8/layout/hList1"/>
    <dgm:cxn modelId="{DC451F40-3765-4E96-B403-1FA75C8CF058}" type="presParOf" srcId="{56E7C06B-CC7E-451A-AA3B-D2B0C4CB3083}" destId="{C2AD3F30-0B62-48EE-B779-76E775C50118}" srcOrd="1" destOrd="0" presId="urn:microsoft.com/office/officeart/2005/8/layout/hList1"/>
    <dgm:cxn modelId="{B91D3C8D-D164-4EFB-ABAD-792DDE3360C6}" type="presParOf" srcId="{643363C9-CE12-45CB-B688-AE2C466F414C}" destId="{6A4E3EBA-AF72-446E-B920-52AAA55D403A}" srcOrd="1" destOrd="0" presId="urn:microsoft.com/office/officeart/2005/8/layout/hList1"/>
    <dgm:cxn modelId="{4FE9E22E-F7F8-48EA-A2CB-F6626EFA2C27}" type="presParOf" srcId="{643363C9-CE12-45CB-B688-AE2C466F414C}" destId="{1916EAE1-3E0D-4086-A95C-B2FB032BF95D}" srcOrd="2" destOrd="0" presId="urn:microsoft.com/office/officeart/2005/8/layout/hList1"/>
    <dgm:cxn modelId="{4C77B255-C560-4D3E-9951-9A169485B31F}" type="presParOf" srcId="{1916EAE1-3E0D-4086-A95C-B2FB032BF95D}" destId="{6842BC1C-71C0-4249-B394-47EBDF957F13}" srcOrd="0" destOrd="0" presId="urn:microsoft.com/office/officeart/2005/8/layout/hList1"/>
    <dgm:cxn modelId="{37F53EA3-2A5C-40A6-BD7E-043E3E18DCC1}" type="presParOf" srcId="{1916EAE1-3E0D-4086-A95C-B2FB032BF95D}" destId="{376716FD-8E0F-4017-8CDF-5C56755866F2}" srcOrd="1" destOrd="0" presId="urn:microsoft.com/office/officeart/2005/8/layout/hList1"/>
    <dgm:cxn modelId="{F657645D-6624-4B35-8354-9B9ACE1E5660}" type="presParOf" srcId="{643363C9-CE12-45CB-B688-AE2C466F414C}" destId="{C7410D29-4130-455D-874B-967D9E05524D}" srcOrd="3" destOrd="0" presId="urn:microsoft.com/office/officeart/2005/8/layout/hList1"/>
    <dgm:cxn modelId="{58258E4D-B8C9-491C-A8AE-A011D82E938E}" type="presParOf" srcId="{643363C9-CE12-45CB-B688-AE2C466F414C}" destId="{86A73DB2-348A-4467-86EA-90D327AF3D7D}" srcOrd="4" destOrd="0" presId="urn:microsoft.com/office/officeart/2005/8/layout/hList1"/>
    <dgm:cxn modelId="{64BF0684-148B-4A90-926C-7CC53D1D6427}" type="presParOf" srcId="{86A73DB2-348A-4467-86EA-90D327AF3D7D}" destId="{D13B5FFE-E3C7-4FC7-87A6-6C9FFABE9737}" srcOrd="0" destOrd="0" presId="urn:microsoft.com/office/officeart/2005/8/layout/hList1"/>
    <dgm:cxn modelId="{FA54C291-2A6B-4808-B3D1-3999D2357C61}" type="presParOf" srcId="{86A73DB2-348A-4467-86EA-90D327AF3D7D}" destId="{67C06C98-2178-4960-AA84-C9FB1609E8F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0803910-308B-4499-940E-7A989F55B242}" type="doc">
      <dgm:prSet loTypeId="urn:microsoft.com/office/officeart/2005/8/layout/hierarchy4" loCatId="list" qsTypeId="urn:microsoft.com/office/officeart/2005/8/quickstyle/3d9" qsCatId="3D" csTypeId="urn:microsoft.com/office/officeart/2005/8/colors/colorful4" csCatId="colorful" phldr="1"/>
      <dgm:spPr/>
      <dgm:t>
        <a:bodyPr/>
        <a:lstStyle/>
        <a:p>
          <a:endParaRPr lang="en-US"/>
        </a:p>
      </dgm:t>
    </dgm:pt>
    <dgm:pt modelId="{CB962011-A01D-4831-BDE8-98CDA5AAEF0D}">
      <dgm:prSet custT="1"/>
      <dgm:spPr/>
      <dgm:t>
        <a:bodyPr vert="horz"/>
        <a:lstStyle/>
        <a:p>
          <a:pPr rtl="0"/>
          <a:r>
            <a:rPr lang="en-US" sz="4400" dirty="0" smtClean="0"/>
            <a:t>W3C</a:t>
          </a:r>
          <a:endParaRPr lang="en-US" sz="4400" dirty="0"/>
        </a:p>
      </dgm:t>
    </dgm:pt>
    <dgm:pt modelId="{4FA2D55B-A91E-4071-9F8E-F86EB41BF593}" type="parTrans" cxnId="{94F75CD5-CFB9-4C65-B35C-40140A0356A5}">
      <dgm:prSet/>
      <dgm:spPr/>
      <dgm:t>
        <a:bodyPr/>
        <a:lstStyle/>
        <a:p>
          <a:endParaRPr lang="en-US"/>
        </a:p>
      </dgm:t>
    </dgm:pt>
    <dgm:pt modelId="{E79BA582-E522-471A-A222-9E9B1970918F}" type="sibTrans" cxnId="{94F75CD5-CFB9-4C65-B35C-40140A0356A5}">
      <dgm:prSet/>
      <dgm:spPr/>
      <dgm:t>
        <a:bodyPr/>
        <a:lstStyle/>
        <a:p>
          <a:endParaRPr lang="en-US"/>
        </a:p>
      </dgm:t>
    </dgm:pt>
    <dgm:pt modelId="{F302CB54-ADC2-433E-890C-78FCF794313A}">
      <dgm:prSet custT="1"/>
      <dgm:spPr>
        <a:solidFill>
          <a:schemeClr val="accent6"/>
        </a:solidFill>
      </dgm:spPr>
      <dgm:t>
        <a:bodyPr vert="horz"/>
        <a:lstStyle/>
        <a:p>
          <a:r>
            <a:rPr lang="en-US" sz="1600" dirty="0" smtClean="0"/>
            <a:t>HTML</a:t>
          </a:r>
          <a:endParaRPr lang="en-US" sz="1600" dirty="0"/>
        </a:p>
      </dgm:t>
    </dgm:pt>
    <dgm:pt modelId="{75CFEF82-0647-4D46-A0D8-88AEF6BFF3D7}" type="parTrans" cxnId="{EB504198-6DB9-4E1C-A955-BDDA8A4BC1BE}">
      <dgm:prSet/>
      <dgm:spPr/>
      <dgm:t>
        <a:bodyPr/>
        <a:lstStyle/>
        <a:p>
          <a:endParaRPr lang="en-US"/>
        </a:p>
      </dgm:t>
    </dgm:pt>
    <dgm:pt modelId="{D498996A-28B9-485D-ADEC-03590F459170}" type="sibTrans" cxnId="{EB504198-6DB9-4E1C-A955-BDDA8A4BC1BE}">
      <dgm:prSet/>
      <dgm:spPr/>
      <dgm:t>
        <a:bodyPr/>
        <a:lstStyle/>
        <a:p>
          <a:endParaRPr lang="en-US"/>
        </a:p>
      </dgm:t>
    </dgm:pt>
    <dgm:pt modelId="{FBB096D8-601A-4F3F-A603-A4BEA97AD825}">
      <dgm:prSet custT="1"/>
      <dgm:spPr>
        <a:solidFill>
          <a:srgbClr val="00B0F0"/>
        </a:solidFill>
      </dgm:spPr>
      <dgm:t>
        <a:bodyPr vert="vert"/>
        <a:lstStyle/>
        <a:p>
          <a:r>
            <a:rPr lang="en-US" sz="700" dirty="0"/>
            <a:t>HTML5</a:t>
          </a:r>
          <a:endParaRPr lang="en-US" sz="1100" dirty="0"/>
        </a:p>
      </dgm:t>
    </dgm:pt>
    <dgm:pt modelId="{9FD03A43-F6DE-4044-8023-FF951CC758C6}" type="parTrans" cxnId="{A91C1B14-0A19-431B-8F3E-32779D4166EE}">
      <dgm:prSet/>
      <dgm:spPr/>
      <dgm:t>
        <a:bodyPr/>
        <a:lstStyle/>
        <a:p>
          <a:endParaRPr lang="en-US"/>
        </a:p>
      </dgm:t>
    </dgm:pt>
    <dgm:pt modelId="{7DCAE619-7BE5-415A-B877-3AF49DA1A670}" type="sibTrans" cxnId="{A91C1B14-0A19-431B-8F3E-32779D4166EE}">
      <dgm:prSet/>
      <dgm:spPr/>
      <dgm:t>
        <a:bodyPr/>
        <a:lstStyle/>
        <a:p>
          <a:endParaRPr lang="en-US"/>
        </a:p>
      </dgm:t>
    </dgm:pt>
    <dgm:pt modelId="{824F47FA-C059-45CA-8100-E9A9E798682A}">
      <dgm:prSet custT="1"/>
      <dgm:spPr>
        <a:solidFill>
          <a:srgbClr val="00B0F0"/>
        </a:solidFill>
      </dgm:spPr>
      <dgm:t>
        <a:bodyPr vert="vert"/>
        <a:lstStyle/>
        <a:p>
          <a:r>
            <a:rPr lang="en-US" sz="700" dirty="0"/>
            <a:t>Canvas </a:t>
          </a:r>
          <a:r>
            <a:rPr lang="en-US" sz="700" dirty="0" smtClean="0"/>
            <a:t>2D Context</a:t>
          </a:r>
          <a:endParaRPr lang="en-US" sz="700" dirty="0"/>
        </a:p>
      </dgm:t>
    </dgm:pt>
    <dgm:pt modelId="{7A29D4EE-BFEE-4119-A2F6-1852DC698B19}" type="parTrans" cxnId="{003327C8-B7DD-4D56-BE6D-98D5A54F1107}">
      <dgm:prSet/>
      <dgm:spPr/>
      <dgm:t>
        <a:bodyPr/>
        <a:lstStyle/>
        <a:p>
          <a:endParaRPr lang="en-US"/>
        </a:p>
      </dgm:t>
    </dgm:pt>
    <dgm:pt modelId="{2D658AAE-B6B8-4B44-B046-75EFFA7E83D0}" type="sibTrans" cxnId="{003327C8-B7DD-4D56-BE6D-98D5A54F1107}">
      <dgm:prSet/>
      <dgm:spPr/>
      <dgm:t>
        <a:bodyPr/>
        <a:lstStyle/>
        <a:p>
          <a:endParaRPr lang="en-US"/>
        </a:p>
      </dgm:t>
    </dgm:pt>
    <dgm:pt modelId="{B74E292A-CC26-4C91-82A9-1F0A90EF2088}">
      <dgm:prSet custT="1"/>
      <dgm:spPr>
        <a:solidFill>
          <a:srgbClr val="00B0F0"/>
        </a:solidFill>
      </dgm:spPr>
      <dgm:t>
        <a:bodyPr vert="vert"/>
        <a:lstStyle/>
        <a:p>
          <a:r>
            <a:rPr lang="en-US" sz="700"/>
            <a:t>Microdata</a:t>
          </a:r>
        </a:p>
      </dgm:t>
    </dgm:pt>
    <dgm:pt modelId="{146E6E90-982C-4E62-9DC5-C24E0719E6AA}" type="parTrans" cxnId="{AD3FF40B-774A-4532-A914-05A85F57D04A}">
      <dgm:prSet/>
      <dgm:spPr/>
      <dgm:t>
        <a:bodyPr/>
        <a:lstStyle/>
        <a:p>
          <a:endParaRPr lang="en-US"/>
        </a:p>
      </dgm:t>
    </dgm:pt>
    <dgm:pt modelId="{B5FB46DC-CAF2-46FF-BD4B-87F0390BE185}" type="sibTrans" cxnId="{AD3FF40B-774A-4532-A914-05A85F57D04A}">
      <dgm:prSet/>
      <dgm:spPr/>
      <dgm:t>
        <a:bodyPr/>
        <a:lstStyle/>
        <a:p>
          <a:endParaRPr lang="en-US"/>
        </a:p>
      </dgm:t>
    </dgm:pt>
    <dgm:pt modelId="{8C3D93C8-DB72-48D0-8097-8974E9CC3FE0}">
      <dgm:prSet custT="1"/>
      <dgm:spPr>
        <a:solidFill>
          <a:srgbClr val="00B0F0"/>
        </a:solidFill>
      </dgm:spPr>
      <dgm:t>
        <a:bodyPr vert="vert"/>
        <a:lstStyle/>
        <a:p>
          <a:r>
            <a:rPr lang="en-US" sz="700" dirty="0" err="1" smtClean="0"/>
            <a:t>HTML+RDFa</a:t>
          </a:r>
          <a:endParaRPr lang="en-US" sz="700" dirty="0"/>
        </a:p>
      </dgm:t>
    </dgm:pt>
    <dgm:pt modelId="{8BE9337F-C5BC-4B9B-89CC-A53536BEA7EA}" type="parTrans" cxnId="{22AFAA45-C05C-4942-B4C3-097EEC1180DC}">
      <dgm:prSet/>
      <dgm:spPr/>
      <dgm:t>
        <a:bodyPr/>
        <a:lstStyle/>
        <a:p>
          <a:endParaRPr lang="en-US"/>
        </a:p>
      </dgm:t>
    </dgm:pt>
    <dgm:pt modelId="{C0ECD273-58E7-4014-B0FB-BAF6CBD7DAFF}" type="sibTrans" cxnId="{22AFAA45-C05C-4942-B4C3-097EEC1180DC}">
      <dgm:prSet/>
      <dgm:spPr/>
      <dgm:t>
        <a:bodyPr/>
        <a:lstStyle/>
        <a:p>
          <a:endParaRPr lang="en-US"/>
        </a:p>
      </dgm:t>
    </dgm:pt>
    <dgm:pt modelId="{A1B47FDA-48EB-460E-9EA9-C1FFC7F087F8}">
      <dgm:prSet custT="1"/>
      <dgm:spPr>
        <a:solidFill>
          <a:srgbClr val="00B0F0"/>
        </a:solidFill>
      </dgm:spPr>
      <dgm:t>
        <a:bodyPr vert="vert"/>
        <a:lstStyle/>
        <a:p>
          <a:r>
            <a:rPr lang="en-US" sz="700"/>
            <a:t>HTML5 Markup</a:t>
          </a:r>
        </a:p>
      </dgm:t>
    </dgm:pt>
    <dgm:pt modelId="{C15FCA66-FF1D-4D04-ABD6-D8A98594299B}" type="parTrans" cxnId="{9BBA3E1D-CAC0-43E7-B78F-903E01FC8148}">
      <dgm:prSet/>
      <dgm:spPr/>
      <dgm:t>
        <a:bodyPr/>
        <a:lstStyle/>
        <a:p>
          <a:endParaRPr lang="en-US"/>
        </a:p>
      </dgm:t>
    </dgm:pt>
    <dgm:pt modelId="{DA99068B-5E45-410D-8068-7E9AE037168A}" type="sibTrans" cxnId="{9BBA3E1D-CAC0-43E7-B78F-903E01FC8148}">
      <dgm:prSet/>
      <dgm:spPr/>
      <dgm:t>
        <a:bodyPr/>
        <a:lstStyle/>
        <a:p>
          <a:endParaRPr lang="en-US"/>
        </a:p>
      </dgm:t>
    </dgm:pt>
    <dgm:pt modelId="{46B86AE4-E6A9-472A-80F2-86F7350348BA}">
      <dgm:prSet custT="1"/>
      <dgm:spPr>
        <a:solidFill>
          <a:srgbClr val="00B0F0"/>
        </a:solidFill>
      </dgm:spPr>
      <dgm:t>
        <a:bodyPr vert="vert"/>
        <a:lstStyle/>
        <a:p>
          <a:r>
            <a:rPr lang="en-US" sz="700" dirty="0" smtClean="0"/>
            <a:t>HTML5 Diff from HTML4</a:t>
          </a:r>
          <a:endParaRPr lang="en-US" sz="700" dirty="0"/>
        </a:p>
      </dgm:t>
    </dgm:pt>
    <dgm:pt modelId="{11F0CCD8-4A37-4E07-9230-84E891F7134A}" type="parTrans" cxnId="{0CCDD12E-71BD-44C8-AF87-C7BEEA0A34C8}">
      <dgm:prSet/>
      <dgm:spPr/>
      <dgm:t>
        <a:bodyPr/>
        <a:lstStyle/>
        <a:p>
          <a:endParaRPr lang="en-US"/>
        </a:p>
      </dgm:t>
    </dgm:pt>
    <dgm:pt modelId="{76A5C397-ED9C-4D02-AD9A-D1ED8892AA6F}" type="sibTrans" cxnId="{0CCDD12E-71BD-44C8-AF87-C7BEEA0A34C8}">
      <dgm:prSet/>
      <dgm:spPr/>
      <dgm:t>
        <a:bodyPr/>
        <a:lstStyle/>
        <a:p>
          <a:endParaRPr lang="en-US"/>
        </a:p>
      </dgm:t>
    </dgm:pt>
    <dgm:pt modelId="{23CF3FEC-A201-4FD8-8C0C-AA87DA5BBFCC}">
      <dgm:prSet custT="1"/>
      <dgm:spPr>
        <a:solidFill>
          <a:srgbClr val="00B0F0"/>
        </a:solidFill>
      </dgm:spPr>
      <dgm:t>
        <a:bodyPr vert="vert"/>
        <a:lstStyle/>
        <a:p>
          <a:r>
            <a:rPr lang="en-US" sz="700" dirty="0" smtClean="0"/>
            <a:t>Polyglot Markup</a:t>
          </a:r>
          <a:endParaRPr lang="en-US" sz="700" dirty="0"/>
        </a:p>
      </dgm:t>
    </dgm:pt>
    <dgm:pt modelId="{CD07251B-CA1D-44C6-97B3-38839FB6A484}" type="parTrans" cxnId="{93495882-42E2-44F7-8A39-AD46E442E08A}">
      <dgm:prSet/>
      <dgm:spPr/>
      <dgm:t>
        <a:bodyPr/>
        <a:lstStyle/>
        <a:p>
          <a:endParaRPr lang="en-US"/>
        </a:p>
      </dgm:t>
    </dgm:pt>
    <dgm:pt modelId="{E99C93D1-3E63-4395-8F3D-539049079473}" type="sibTrans" cxnId="{93495882-42E2-44F7-8A39-AD46E442E08A}">
      <dgm:prSet/>
      <dgm:spPr/>
      <dgm:t>
        <a:bodyPr/>
        <a:lstStyle/>
        <a:p>
          <a:endParaRPr lang="en-US"/>
        </a:p>
      </dgm:t>
    </dgm:pt>
    <dgm:pt modelId="{2A59CD85-458E-49D4-9ADF-D95CAAAF81C8}">
      <dgm:prSet custT="1"/>
      <dgm:spPr>
        <a:solidFill>
          <a:schemeClr val="accent6"/>
        </a:solidFill>
      </dgm:spPr>
      <dgm:t>
        <a:bodyPr vert="horz"/>
        <a:lstStyle/>
        <a:p>
          <a:r>
            <a:rPr lang="en-US" sz="1600" dirty="0" smtClean="0"/>
            <a:t>CSS</a:t>
          </a:r>
          <a:endParaRPr lang="en-US" sz="1600" dirty="0"/>
        </a:p>
      </dgm:t>
    </dgm:pt>
    <dgm:pt modelId="{BABFA7C0-2255-44AF-B3D7-0BDD238A7C3B}" type="parTrans" cxnId="{20D9169C-2FF4-4C26-A70E-EADE0A76C1C5}">
      <dgm:prSet/>
      <dgm:spPr/>
      <dgm:t>
        <a:bodyPr/>
        <a:lstStyle/>
        <a:p>
          <a:endParaRPr lang="en-US"/>
        </a:p>
      </dgm:t>
    </dgm:pt>
    <dgm:pt modelId="{E0FF60A9-B53D-4E45-B340-D613B834205A}" type="sibTrans" cxnId="{20D9169C-2FF4-4C26-A70E-EADE0A76C1C5}">
      <dgm:prSet/>
      <dgm:spPr/>
      <dgm:t>
        <a:bodyPr/>
        <a:lstStyle/>
        <a:p>
          <a:endParaRPr lang="en-US"/>
        </a:p>
      </dgm:t>
    </dgm:pt>
    <dgm:pt modelId="{59F6F7B8-5289-4B65-A04B-3F79F4B4EE76}">
      <dgm:prSet custT="1"/>
      <dgm:spPr>
        <a:solidFill>
          <a:srgbClr val="00B0F0"/>
        </a:solidFill>
      </dgm:spPr>
      <dgm:t>
        <a:bodyPr vert="vert"/>
        <a:lstStyle/>
        <a:p>
          <a:r>
            <a:rPr lang="en-US" sz="700"/>
            <a:t>CSS Snapshot 2007</a:t>
          </a:r>
        </a:p>
      </dgm:t>
    </dgm:pt>
    <dgm:pt modelId="{1E0CF566-1ADC-485D-931D-5F2820B683C4}" type="parTrans" cxnId="{36E76150-9B1F-4E6C-B32C-A94BEC8B3AB8}">
      <dgm:prSet/>
      <dgm:spPr/>
      <dgm:t>
        <a:bodyPr/>
        <a:lstStyle/>
        <a:p>
          <a:endParaRPr lang="en-US"/>
        </a:p>
      </dgm:t>
    </dgm:pt>
    <dgm:pt modelId="{2E30BBD9-D13F-47F3-A433-B188A99F8B3E}" type="sibTrans" cxnId="{36E76150-9B1F-4E6C-B32C-A94BEC8B3AB8}">
      <dgm:prSet/>
      <dgm:spPr/>
      <dgm:t>
        <a:bodyPr/>
        <a:lstStyle/>
        <a:p>
          <a:endParaRPr lang="en-US"/>
        </a:p>
      </dgm:t>
    </dgm:pt>
    <dgm:pt modelId="{D0D4AE6B-9837-42A2-8E7B-D459278A9B98}">
      <dgm:prSet custT="1"/>
      <dgm:spPr>
        <a:solidFill>
          <a:srgbClr val="00B0F0"/>
        </a:solidFill>
      </dgm:spPr>
      <dgm:t>
        <a:bodyPr vert="vert"/>
        <a:lstStyle/>
        <a:p>
          <a:r>
            <a:rPr lang="en-US" sz="700"/>
            <a:t>CSS Namespaces</a:t>
          </a:r>
        </a:p>
      </dgm:t>
    </dgm:pt>
    <dgm:pt modelId="{DD3528A4-FE1D-4603-BCBE-0E06A9C86FC1}" type="parTrans" cxnId="{2E65FAA0-3BDC-4336-8B91-53932E961E4B}">
      <dgm:prSet/>
      <dgm:spPr/>
      <dgm:t>
        <a:bodyPr/>
        <a:lstStyle/>
        <a:p>
          <a:endParaRPr lang="en-US"/>
        </a:p>
      </dgm:t>
    </dgm:pt>
    <dgm:pt modelId="{9CE46057-B56A-42DB-BB6F-136AD95C9F28}" type="sibTrans" cxnId="{2E65FAA0-3BDC-4336-8B91-53932E961E4B}">
      <dgm:prSet/>
      <dgm:spPr/>
      <dgm:t>
        <a:bodyPr/>
        <a:lstStyle/>
        <a:p>
          <a:endParaRPr lang="en-US"/>
        </a:p>
      </dgm:t>
    </dgm:pt>
    <dgm:pt modelId="{1FAD0389-CA86-4B9A-9DF8-630A1570B3E9}">
      <dgm:prSet custT="1"/>
      <dgm:spPr>
        <a:solidFill>
          <a:srgbClr val="00B0F0"/>
        </a:solidFill>
      </dgm:spPr>
      <dgm:t>
        <a:bodyPr vert="vert"/>
        <a:lstStyle/>
        <a:p>
          <a:r>
            <a:rPr lang="en-US" sz="700" dirty="0"/>
            <a:t>CSS Paged Media</a:t>
          </a:r>
        </a:p>
      </dgm:t>
    </dgm:pt>
    <dgm:pt modelId="{4415D2BF-386F-4264-9B06-85FFB4C257EC}" type="parTrans" cxnId="{6FF162F6-1549-4C24-A561-5F3C9760A5E4}">
      <dgm:prSet/>
      <dgm:spPr/>
      <dgm:t>
        <a:bodyPr/>
        <a:lstStyle/>
        <a:p>
          <a:endParaRPr lang="en-US"/>
        </a:p>
      </dgm:t>
    </dgm:pt>
    <dgm:pt modelId="{339095E4-C44A-4FF2-8B26-D3C0F77EF5BF}" type="sibTrans" cxnId="{6FF162F6-1549-4C24-A561-5F3C9760A5E4}">
      <dgm:prSet/>
      <dgm:spPr/>
      <dgm:t>
        <a:bodyPr/>
        <a:lstStyle/>
        <a:p>
          <a:endParaRPr lang="en-US"/>
        </a:p>
      </dgm:t>
    </dgm:pt>
    <dgm:pt modelId="{B1D89FBB-354E-43DC-8BD2-C3AAEDAF58DA}">
      <dgm:prSet custT="1"/>
      <dgm:spPr>
        <a:solidFill>
          <a:srgbClr val="00B0F0"/>
        </a:solidFill>
      </dgm:spPr>
      <dgm:t>
        <a:bodyPr vert="vert"/>
        <a:lstStyle/>
        <a:p>
          <a:r>
            <a:rPr lang="en-US" sz="700"/>
            <a:t>CSS Print Profile</a:t>
          </a:r>
        </a:p>
      </dgm:t>
    </dgm:pt>
    <dgm:pt modelId="{2E9D3826-AF6D-43F9-91E9-6F1D802707B9}" type="parTrans" cxnId="{D2DD70DA-C10F-47CB-9A73-970F9A0E3312}">
      <dgm:prSet/>
      <dgm:spPr/>
      <dgm:t>
        <a:bodyPr/>
        <a:lstStyle/>
        <a:p>
          <a:endParaRPr lang="en-US"/>
        </a:p>
      </dgm:t>
    </dgm:pt>
    <dgm:pt modelId="{8FCC7F70-1D75-4986-B561-54909FE8EBEE}" type="sibTrans" cxnId="{D2DD70DA-C10F-47CB-9A73-970F9A0E3312}">
      <dgm:prSet/>
      <dgm:spPr/>
      <dgm:t>
        <a:bodyPr/>
        <a:lstStyle/>
        <a:p>
          <a:endParaRPr lang="en-US"/>
        </a:p>
      </dgm:t>
    </dgm:pt>
    <dgm:pt modelId="{CEA2CCE2-8D14-4012-8A69-0614D20F3844}">
      <dgm:prSet custT="1"/>
      <dgm:spPr>
        <a:solidFill>
          <a:srgbClr val="00B0F0"/>
        </a:solidFill>
      </dgm:spPr>
      <dgm:t>
        <a:bodyPr vert="vert"/>
        <a:lstStyle/>
        <a:p>
          <a:r>
            <a:rPr lang="en-US" sz="700"/>
            <a:t>CSS Values and Units</a:t>
          </a:r>
        </a:p>
      </dgm:t>
    </dgm:pt>
    <dgm:pt modelId="{18464C69-2AC2-4E1D-9C85-A81BA049CD68}" type="parTrans" cxnId="{1C951428-5F67-41B8-9915-B825E49C8EB9}">
      <dgm:prSet/>
      <dgm:spPr/>
      <dgm:t>
        <a:bodyPr/>
        <a:lstStyle/>
        <a:p>
          <a:endParaRPr lang="en-US"/>
        </a:p>
      </dgm:t>
    </dgm:pt>
    <dgm:pt modelId="{B7E68179-EB44-4BB7-A2C2-8F5A9A857B14}" type="sibTrans" cxnId="{1C951428-5F67-41B8-9915-B825E49C8EB9}">
      <dgm:prSet/>
      <dgm:spPr/>
      <dgm:t>
        <a:bodyPr/>
        <a:lstStyle/>
        <a:p>
          <a:endParaRPr lang="en-US"/>
        </a:p>
      </dgm:t>
    </dgm:pt>
    <dgm:pt modelId="{FFBF19EB-AD26-4AE4-8646-7FC634809800}">
      <dgm:prSet custT="1"/>
      <dgm:spPr>
        <a:solidFill>
          <a:srgbClr val="00B0F0"/>
        </a:solidFill>
      </dgm:spPr>
      <dgm:t>
        <a:bodyPr vert="vert"/>
        <a:lstStyle/>
        <a:p>
          <a:r>
            <a:rPr lang="en-US" sz="700"/>
            <a:t>CSS Cascading and Inheritance</a:t>
          </a:r>
        </a:p>
      </dgm:t>
    </dgm:pt>
    <dgm:pt modelId="{DBC4203D-EEBC-446E-AAE0-A80963B91BFD}" type="parTrans" cxnId="{9E3DB841-9EA7-4C6E-B2CE-50A152A458ED}">
      <dgm:prSet/>
      <dgm:spPr/>
      <dgm:t>
        <a:bodyPr/>
        <a:lstStyle/>
        <a:p>
          <a:endParaRPr lang="en-US"/>
        </a:p>
      </dgm:t>
    </dgm:pt>
    <dgm:pt modelId="{DAEDBA6F-87A6-41A1-A545-65E7EEA60FD3}" type="sibTrans" cxnId="{9E3DB841-9EA7-4C6E-B2CE-50A152A458ED}">
      <dgm:prSet/>
      <dgm:spPr/>
      <dgm:t>
        <a:bodyPr/>
        <a:lstStyle/>
        <a:p>
          <a:endParaRPr lang="en-US"/>
        </a:p>
      </dgm:t>
    </dgm:pt>
    <dgm:pt modelId="{15858814-A724-442E-A125-A80D28948050}">
      <dgm:prSet custT="1"/>
      <dgm:spPr>
        <a:solidFill>
          <a:srgbClr val="00B0F0"/>
        </a:solidFill>
      </dgm:spPr>
      <dgm:t>
        <a:bodyPr vert="vert"/>
        <a:lstStyle/>
        <a:p>
          <a:r>
            <a:rPr lang="en-US" sz="700"/>
            <a:t>CSS Text</a:t>
          </a:r>
        </a:p>
      </dgm:t>
    </dgm:pt>
    <dgm:pt modelId="{542FC3AD-5D2D-4E2C-AFEB-BCFD38A54984}" type="parTrans" cxnId="{58E2426F-B0BE-49B3-9A52-40805E149684}">
      <dgm:prSet/>
      <dgm:spPr/>
      <dgm:t>
        <a:bodyPr/>
        <a:lstStyle/>
        <a:p>
          <a:endParaRPr lang="en-US"/>
        </a:p>
      </dgm:t>
    </dgm:pt>
    <dgm:pt modelId="{BC6DB74A-6D33-4097-8BCF-E0A2F605489E}" type="sibTrans" cxnId="{58E2426F-B0BE-49B3-9A52-40805E149684}">
      <dgm:prSet/>
      <dgm:spPr/>
      <dgm:t>
        <a:bodyPr/>
        <a:lstStyle/>
        <a:p>
          <a:endParaRPr lang="en-US"/>
        </a:p>
      </dgm:t>
    </dgm:pt>
    <dgm:pt modelId="{F97AE781-5E02-4F6A-A5A2-4BED3F93526F}">
      <dgm:prSet custT="1"/>
      <dgm:spPr>
        <a:solidFill>
          <a:srgbClr val="00B0F0"/>
        </a:solidFill>
      </dgm:spPr>
      <dgm:t>
        <a:bodyPr vert="vert"/>
        <a:lstStyle/>
        <a:p>
          <a:r>
            <a:rPr lang="en-US" sz="700"/>
            <a:t>CSS Writing Modes</a:t>
          </a:r>
        </a:p>
      </dgm:t>
    </dgm:pt>
    <dgm:pt modelId="{BB6C5601-1CDA-4B6A-9FEF-C9C000D4098D}" type="parTrans" cxnId="{129C5B4A-31A0-4016-9F78-8F294B1CC180}">
      <dgm:prSet/>
      <dgm:spPr/>
      <dgm:t>
        <a:bodyPr/>
        <a:lstStyle/>
        <a:p>
          <a:endParaRPr lang="en-US"/>
        </a:p>
      </dgm:t>
    </dgm:pt>
    <dgm:pt modelId="{5AC71A4C-1984-473F-83FF-B4A7A733E251}" type="sibTrans" cxnId="{129C5B4A-31A0-4016-9F78-8F294B1CC180}">
      <dgm:prSet/>
      <dgm:spPr/>
      <dgm:t>
        <a:bodyPr/>
        <a:lstStyle/>
        <a:p>
          <a:endParaRPr lang="en-US"/>
        </a:p>
      </dgm:t>
    </dgm:pt>
    <dgm:pt modelId="{7932597D-7F34-4283-8CA5-B4E22EFABD74}">
      <dgm:prSet custT="1"/>
      <dgm:spPr>
        <a:solidFill>
          <a:srgbClr val="00B0F0"/>
        </a:solidFill>
      </dgm:spPr>
      <dgm:t>
        <a:bodyPr vert="vert"/>
        <a:lstStyle/>
        <a:p>
          <a:r>
            <a:rPr lang="en-US" sz="700"/>
            <a:t>CSS Line Grid</a:t>
          </a:r>
        </a:p>
      </dgm:t>
    </dgm:pt>
    <dgm:pt modelId="{D41FC782-8B7B-4060-8A44-799AB43A2B5D}" type="parTrans" cxnId="{6C1D717C-CBF4-47BA-83AA-B8D6F90BBDD1}">
      <dgm:prSet/>
      <dgm:spPr/>
      <dgm:t>
        <a:bodyPr/>
        <a:lstStyle/>
        <a:p>
          <a:endParaRPr lang="en-US"/>
        </a:p>
      </dgm:t>
    </dgm:pt>
    <dgm:pt modelId="{576A7E52-2ECC-4F63-88B5-A18E3931C464}" type="sibTrans" cxnId="{6C1D717C-CBF4-47BA-83AA-B8D6F90BBDD1}">
      <dgm:prSet/>
      <dgm:spPr/>
      <dgm:t>
        <a:bodyPr/>
        <a:lstStyle/>
        <a:p>
          <a:endParaRPr lang="en-US"/>
        </a:p>
      </dgm:t>
    </dgm:pt>
    <dgm:pt modelId="{2DB36196-5045-4FF2-A7B8-91920A383148}">
      <dgm:prSet custT="1"/>
      <dgm:spPr>
        <a:solidFill>
          <a:srgbClr val="00B0F0"/>
        </a:solidFill>
      </dgm:spPr>
      <dgm:t>
        <a:bodyPr vert="vert"/>
        <a:lstStyle/>
        <a:p>
          <a:r>
            <a:rPr lang="en-US" sz="700"/>
            <a:t>CSS Ruby</a:t>
          </a:r>
        </a:p>
      </dgm:t>
    </dgm:pt>
    <dgm:pt modelId="{609EACCF-11E8-4DCA-B459-76E26E401363}" type="parTrans" cxnId="{4A71E84F-C128-4F8B-8464-C8BE3584E8B7}">
      <dgm:prSet/>
      <dgm:spPr/>
      <dgm:t>
        <a:bodyPr/>
        <a:lstStyle/>
        <a:p>
          <a:endParaRPr lang="en-US"/>
        </a:p>
      </dgm:t>
    </dgm:pt>
    <dgm:pt modelId="{CA5540A7-C468-490A-B908-B74FAD8C7634}" type="sibTrans" cxnId="{4A71E84F-C128-4F8B-8464-C8BE3584E8B7}">
      <dgm:prSet/>
      <dgm:spPr/>
      <dgm:t>
        <a:bodyPr/>
        <a:lstStyle/>
        <a:p>
          <a:endParaRPr lang="en-US"/>
        </a:p>
      </dgm:t>
    </dgm:pt>
    <dgm:pt modelId="{E226EA3E-5102-4521-A24C-CB6C2C44DB38}">
      <dgm:prSet custT="1"/>
      <dgm:spPr>
        <a:solidFill>
          <a:srgbClr val="00B0F0"/>
        </a:solidFill>
      </dgm:spPr>
      <dgm:t>
        <a:bodyPr vert="vert"/>
        <a:lstStyle/>
        <a:p>
          <a:r>
            <a:rPr lang="en-US" sz="500" dirty="0"/>
            <a:t>CSS Generated Content for </a:t>
          </a:r>
          <a:r>
            <a:rPr lang="en-US" sz="500" dirty="0" smtClean="0"/>
            <a:t>Paged Media</a:t>
          </a:r>
          <a:endParaRPr lang="en-US" sz="500" dirty="0"/>
        </a:p>
      </dgm:t>
    </dgm:pt>
    <dgm:pt modelId="{7EAB8CEC-B84C-4DE9-9DE2-8A0EAE3E502C}" type="parTrans" cxnId="{BB4016F0-697C-4A22-B5ED-96AD44C180C5}">
      <dgm:prSet/>
      <dgm:spPr/>
      <dgm:t>
        <a:bodyPr/>
        <a:lstStyle/>
        <a:p>
          <a:endParaRPr lang="en-US"/>
        </a:p>
      </dgm:t>
    </dgm:pt>
    <dgm:pt modelId="{5114796E-4FF7-49EF-8211-C30DBAB34C6C}" type="sibTrans" cxnId="{BB4016F0-697C-4A22-B5ED-96AD44C180C5}">
      <dgm:prSet/>
      <dgm:spPr/>
      <dgm:t>
        <a:bodyPr/>
        <a:lstStyle/>
        <a:p>
          <a:endParaRPr lang="en-US"/>
        </a:p>
      </dgm:t>
    </dgm:pt>
    <dgm:pt modelId="{6CB2108B-431B-4263-B8DB-70FA5449DA72}">
      <dgm:prSet custT="1"/>
      <dgm:spPr>
        <a:solidFill>
          <a:srgbClr val="00B0F0"/>
        </a:solidFill>
      </dgm:spPr>
      <dgm:t>
        <a:bodyPr vert="vert"/>
        <a:lstStyle/>
        <a:p>
          <a:r>
            <a:rPr lang="en-US" sz="700"/>
            <a:t>CSS Backgrounds and Borders</a:t>
          </a:r>
        </a:p>
      </dgm:t>
    </dgm:pt>
    <dgm:pt modelId="{C21BE556-9430-40B9-9699-91F957C8D384}" type="parTrans" cxnId="{79AA8A2D-7F18-4B5A-891A-0B4CAE4F45A9}">
      <dgm:prSet/>
      <dgm:spPr/>
      <dgm:t>
        <a:bodyPr/>
        <a:lstStyle/>
        <a:p>
          <a:endParaRPr lang="en-US"/>
        </a:p>
      </dgm:t>
    </dgm:pt>
    <dgm:pt modelId="{BA91E286-8E58-4502-859A-03A18A848D8A}" type="sibTrans" cxnId="{79AA8A2D-7F18-4B5A-891A-0B4CAE4F45A9}">
      <dgm:prSet/>
      <dgm:spPr/>
      <dgm:t>
        <a:bodyPr/>
        <a:lstStyle/>
        <a:p>
          <a:endParaRPr lang="en-US"/>
        </a:p>
      </dgm:t>
    </dgm:pt>
    <dgm:pt modelId="{F9E0F2FF-AAE3-4366-8130-773ACB89D1DB}">
      <dgm:prSet custT="1"/>
      <dgm:spPr>
        <a:solidFill>
          <a:srgbClr val="00B0F0"/>
        </a:solidFill>
      </dgm:spPr>
      <dgm:t>
        <a:bodyPr vert="vert"/>
        <a:lstStyle/>
        <a:p>
          <a:r>
            <a:rPr lang="en-US" sz="700"/>
            <a:t>CSS Fonts</a:t>
          </a:r>
        </a:p>
      </dgm:t>
    </dgm:pt>
    <dgm:pt modelId="{DEDB0C53-6491-4E1E-B98D-0C4AE42F1739}" type="parTrans" cxnId="{D7E683C2-C3AD-4DB7-8CFD-2E33F21ADDD1}">
      <dgm:prSet/>
      <dgm:spPr/>
      <dgm:t>
        <a:bodyPr/>
        <a:lstStyle/>
        <a:p>
          <a:endParaRPr lang="en-US"/>
        </a:p>
      </dgm:t>
    </dgm:pt>
    <dgm:pt modelId="{23A2CB14-291F-4F33-8CBA-0EB812D8ACE8}" type="sibTrans" cxnId="{D7E683C2-C3AD-4DB7-8CFD-2E33F21ADDD1}">
      <dgm:prSet/>
      <dgm:spPr/>
      <dgm:t>
        <a:bodyPr/>
        <a:lstStyle/>
        <a:p>
          <a:endParaRPr lang="en-US"/>
        </a:p>
      </dgm:t>
    </dgm:pt>
    <dgm:pt modelId="{DC77AB2F-5AA5-4501-8AD8-34EA89473011}">
      <dgm:prSet custT="1"/>
      <dgm:spPr>
        <a:solidFill>
          <a:srgbClr val="00B0F0"/>
        </a:solidFill>
      </dgm:spPr>
      <dgm:t>
        <a:bodyPr vert="vert"/>
        <a:lstStyle/>
        <a:p>
          <a:r>
            <a:rPr lang="en-US" sz="700"/>
            <a:t>CSS Basic Box Model</a:t>
          </a:r>
        </a:p>
      </dgm:t>
    </dgm:pt>
    <dgm:pt modelId="{009863F8-9AF0-49BF-82CA-5AAEA9CEC438}" type="parTrans" cxnId="{8640B3CC-9301-43E1-A774-54B8945C6D0C}">
      <dgm:prSet/>
      <dgm:spPr/>
      <dgm:t>
        <a:bodyPr/>
        <a:lstStyle/>
        <a:p>
          <a:endParaRPr lang="en-US"/>
        </a:p>
      </dgm:t>
    </dgm:pt>
    <dgm:pt modelId="{6EC287D7-EE10-43A1-B969-4FFBF25CD804}" type="sibTrans" cxnId="{8640B3CC-9301-43E1-A774-54B8945C6D0C}">
      <dgm:prSet/>
      <dgm:spPr/>
      <dgm:t>
        <a:bodyPr/>
        <a:lstStyle/>
        <a:p>
          <a:endParaRPr lang="en-US"/>
        </a:p>
      </dgm:t>
    </dgm:pt>
    <dgm:pt modelId="{3E5C0A3D-7CAE-4EEC-AEEB-D474A919245E}">
      <dgm:prSet custT="1"/>
      <dgm:spPr>
        <a:solidFill>
          <a:srgbClr val="00B0F0"/>
        </a:solidFill>
      </dgm:spPr>
      <dgm:t>
        <a:bodyPr vert="vert"/>
        <a:lstStyle/>
        <a:p>
          <a:r>
            <a:rPr lang="en-US" sz="700"/>
            <a:t>CSS Multi-column Layout</a:t>
          </a:r>
        </a:p>
      </dgm:t>
    </dgm:pt>
    <dgm:pt modelId="{32223767-62D2-446F-9DE4-3A49EC77EE03}" type="parTrans" cxnId="{4143B6A5-899B-4D63-82C1-38257824997E}">
      <dgm:prSet/>
      <dgm:spPr/>
      <dgm:t>
        <a:bodyPr/>
        <a:lstStyle/>
        <a:p>
          <a:endParaRPr lang="en-US"/>
        </a:p>
      </dgm:t>
    </dgm:pt>
    <dgm:pt modelId="{AC2ADDBD-B25A-4147-9869-B701568DE5EC}" type="sibTrans" cxnId="{4143B6A5-899B-4D63-82C1-38257824997E}">
      <dgm:prSet/>
      <dgm:spPr/>
      <dgm:t>
        <a:bodyPr/>
        <a:lstStyle/>
        <a:p>
          <a:endParaRPr lang="en-US"/>
        </a:p>
      </dgm:t>
    </dgm:pt>
    <dgm:pt modelId="{DE7967FF-F145-449D-98A6-64158A2381B4}">
      <dgm:prSet custT="1"/>
      <dgm:spPr>
        <a:solidFill>
          <a:srgbClr val="00B0F0"/>
        </a:solidFill>
      </dgm:spPr>
      <dgm:t>
        <a:bodyPr vert="vert"/>
        <a:lstStyle/>
        <a:p>
          <a:r>
            <a:rPr lang="en-US" sz="700"/>
            <a:t>CSS Template Layout</a:t>
          </a:r>
        </a:p>
      </dgm:t>
    </dgm:pt>
    <dgm:pt modelId="{CB390495-FED3-414C-8B1A-04F909CA9E9B}" type="parTrans" cxnId="{A4169612-DE3A-48B6-923E-DA00CAB0278C}">
      <dgm:prSet/>
      <dgm:spPr/>
      <dgm:t>
        <a:bodyPr/>
        <a:lstStyle/>
        <a:p>
          <a:endParaRPr lang="en-US"/>
        </a:p>
      </dgm:t>
    </dgm:pt>
    <dgm:pt modelId="{215C0B3A-D1E7-4213-975F-A027D3D7FB6F}" type="sibTrans" cxnId="{A4169612-DE3A-48B6-923E-DA00CAB0278C}">
      <dgm:prSet/>
      <dgm:spPr/>
      <dgm:t>
        <a:bodyPr/>
        <a:lstStyle/>
        <a:p>
          <a:endParaRPr lang="en-US"/>
        </a:p>
      </dgm:t>
    </dgm:pt>
    <dgm:pt modelId="{7A80C44F-C256-4784-A7E0-7DC9822CA587}">
      <dgm:prSet custT="1"/>
      <dgm:spPr>
        <a:solidFill>
          <a:srgbClr val="00B0F0"/>
        </a:solidFill>
      </dgm:spPr>
      <dgm:t>
        <a:bodyPr vert="vert"/>
        <a:lstStyle/>
        <a:p>
          <a:r>
            <a:rPr lang="en-US" sz="700"/>
            <a:t>CSS Media Queries</a:t>
          </a:r>
        </a:p>
      </dgm:t>
    </dgm:pt>
    <dgm:pt modelId="{964EFEE0-54CE-421A-92C5-55CDEE1C57DF}" type="parTrans" cxnId="{D68C773B-9E8F-4593-8EDC-02EAD963891A}">
      <dgm:prSet/>
      <dgm:spPr/>
      <dgm:t>
        <a:bodyPr/>
        <a:lstStyle/>
        <a:p>
          <a:endParaRPr lang="en-US"/>
        </a:p>
      </dgm:t>
    </dgm:pt>
    <dgm:pt modelId="{962BE385-992A-4B95-8D2B-342B7EAC052C}" type="sibTrans" cxnId="{D68C773B-9E8F-4593-8EDC-02EAD963891A}">
      <dgm:prSet/>
      <dgm:spPr/>
      <dgm:t>
        <a:bodyPr/>
        <a:lstStyle/>
        <a:p>
          <a:endParaRPr lang="en-US"/>
        </a:p>
      </dgm:t>
    </dgm:pt>
    <dgm:pt modelId="{18722CAA-CD1D-465E-87CE-74A95A335F80}">
      <dgm:prSet custT="1"/>
      <dgm:spPr>
        <a:solidFill>
          <a:srgbClr val="00B0F0"/>
        </a:solidFill>
      </dgm:spPr>
      <dgm:t>
        <a:bodyPr vert="vert"/>
        <a:lstStyle/>
        <a:p>
          <a:r>
            <a:rPr lang="en-US" sz="700"/>
            <a:t>CSS Speech</a:t>
          </a:r>
        </a:p>
      </dgm:t>
    </dgm:pt>
    <dgm:pt modelId="{23F570BC-4047-4774-A125-77B255FEDF74}" type="parTrans" cxnId="{92FB3FD7-9EB4-4406-BC95-BA3CAE67CC73}">
      <dgm:prSet/>
      <dgm:spPr/>
      <dgm:t>
        <a:bodyPr/>
        <a:lstStyle/>
        <a:p>
          <a:endParaRPr lang="en-US"/>
        </a:p>
      </dgm:t>
    </dgm:pt>
    <dgm:pt modelId="{E637B16C-768F-450C-A58B-887CE75A9DFE}" type="sibTrans" cxnId="{92FB3FD7-9EB4-4406-BC95-BA3CAE67CC73}">
      <dgm:prSet/>
      <dgm:spPr/>
      <dgm:t>
        <a:bodyPr/>
        <a:lstStyle/>
        <a:p>
          <a:endParaRPr lang="en-US"/>
        </a:p>
      </dgm:t>
    </dgm:pt>
    <dgm:pt modelId="{E7EB3BC9-39E5-4B58-8BC9-2B4A2A2A1E80}">
      <dgm:prSet custT="1"/>
      <dgm:spPr>
        <a:solidFill>
          <a:srgbClr val="00B0F0"/>
        </a:solidFill>
      </dgm:spPr>
      <dgm:t>
        <a:bodyPr vert="vert"/>
        <a:lstStyle/>
        <a:p>
          <a:r>
            <a:rPr lang="en-US" sz="700"/>
            <a:t>CSS Color</a:t>
          </a:r>
        </a:p>
      </dgm:t>
    </dgm:pt>
    <dgm:pt modelId="{290DE1B2-E1C6-42B2-94F6-B4E3A5C78EBE}" type="parTrans" cxnId="{CFF4FD3A-76EA-458D-94B3-948251F8DB4A}">
      <dgm:prSet/>
      <dgm:spPr/>
      <dgm:t>
        <a:bodyPr/>
        <a:lstStyle/>
        <a:p>
          <a:endParaRPr lang="en-US"/>
        </a:p>
      </dgm:t>
    </dgm:pt>
    <dgm:pt modelId="{1D5FDC79-207F-45C8-8B09-33E09BDE7BA2}" type="sibTrans" cxnId="{CFF4FD3A-76EA-458D-94B3-948251F8DB4A}">
      <dgm:prSet/>
      <dgm:spPr/>
      <dgm:t>
        <a:bodyPr/>
        <a:lstStyle/>
        <a:p>
          <a:endParaRPr lang="en-US"/>
        </a:p>
      </dgm:t>
    </dgm:pt>
    <dgm:pt modelId="{2F60C32C-D12F-4999-92C4-EF8A795BE8A0}">
      <dgm:prSet custT="1"/>
      <dgm:spPr>
        <a:solidFill>
          <a:srgbClr val="00B0F0"/>
        </a:solidFill>
      </dgm:spPr>
      <dgm:t>
        <a:bodyPr vert="vert"/>
        <a:lstStyle/>
        <a:p>
          <a:r>
            <a:rPr lang="en-US" sz="700"/>
            <a:t>CSS Basic User Interface </a:t>
          </a:r>
        </a:p>
      </dgm:t>
    </dgm:pt>
    <dgm:pt modelId="{55F409ED-803A-4B77-8FFA-86DF6EAE49ED}" type="parTrans" cxnId="{2539D3E9-9D34-4EC2-A8A4-B0C1A9B93563}">
      <dgm:prSet/>
      <dgm:spPr/>
      <dgm:t>
        <a:bodyPr/>
        <a:lstStyle/>
        <a:p>
          <a:endParaRPr lang="en-US"/>
        </a:p>
      </dgm:t>
    </dgm:pt>
    <dgm:pt modelId="{A3091473-A773-41CC-8C52-2C6874499AD5}" type="sibTrans" cxnId="{2539D3E9-9D34-4EC2-A8A4-B0C1A9B93563}">
      <dgm:prSet/>
      <dgm:spPr/>
      <dgm:t>
        <a:bodyPr/>
        <a:lstStyle/>
        <a:p>
          <a:endParaRPr lang="en-US"/>
        </a:p>
      </dgm:t>
    </dgm:pt>
    <dgm:pt modelId="{FA5A1A6B-8D40-4149-898B-2E19DC9AAEA1}">
      <dgm:prSet custT="1"/>
      <dgm:spPr>
        <a:solidFill>
          <a:srgbClr val="00B0F0"/>
        </a:solidFill>
      </dgm:spPr>
      <dgm:t>
        <a:bodyPr vert="vert"/>
        <a:lstStyle/>
        <a:p>
          <a:r>
            <a:rPr lang="en-US" sz="700"/>
            <a:t>CSS Scoping</a:t>
          </a:r>
        </a:p>
      </dgm:t>
    </dgm:pt>
    <dgm:pt modelId="{F5F5DAEC-00F7-48F0-B005-475E2459F781}" type="parTrans" cxnId="{3A5AC2B0-9395-4B8B-B3D9-99259C00864F}">
      <dgm:prSet/>
      <dgm:spPr/>
      <dgm:t>
        <a:bodyPr/>
        <a:lstStyle/>
        <a:p>
          <a:endParaRPr lang="en-US"/>
        </a:p>
      </dgm:t>
    </dgm:pt>
    <dgm:pt modelId="{F45FED01-E98E-4388-8BCF-AAA9A7D2D6F9}" type="sibTrans" cxnId="{3A5AC2B0-9395-4B8B-B3D9-99259C00864F}">
      <dgm:prSet/>
      <dgm:spPr/>
      <dgm:t>
        <a:bodyPr/>
        <a:lstStyle/>
        <a:p>
          <a:endParaRPr lang="en-US"/>
        </a:p>
      </dgm:t>
    </dgm:pt>
    <dgm:pt modelId="{8CEB72ED-CD58-4818-9E18-1A7F39C30851}">
      <dgm:prSet custT="1"/>
      <dgm:spPr>
        <a:solidFill>
          <a:srgbClr val="00B0F0"/>
        </a:solidFill>
      </dgm:spPr>
      <dgm:t>
        <a:bodyPr vert="vert"/>
        <a:lstStyle/>
        <a:p>
          <a:r>
            <a:rPr lang="en-US" sz="700"/>
            <a:t>CSS Grid Positioning</a:t>
          </a:r>
        </a:p>
      </dgm:t>
    </dgm:pt>
    <dgm:pt modelId="{FCE36E33-FC4D-4063-83F7-F3C95977DAF4}" type="parTrans" cxnId="{8B43DEA0-6A8F-4DDE-9C98-9A107F0F03F9}">
      <dgm:prSet/>
      <dgm:spPr/>
      <dgm:t>
        <a:bodyPr/>
        <a:lstStyle/>
        <a:p>
          <a:endParaRPr lang="en-US"/>
        </a:p>
      </dgm:t>
    </dgm:pt>
    <dgm:pt modelId="{BEE3F568-8E43-4681-A712-8A900700ABB5}" type="sibTrans" cxnId="{8B43DEA0-6A8F-4DDE-9C98-9A107F0F03F9}">
      <dgm:prSet/>
      <dgm:spPr/>
      <dgm:t>
        <a:bodyPr/>
        <a:lstStyle/>
        <a:p>
          <a:endParaRPr lang="en-US"/>
        </a:p>
      </dgm:t>
    </dgm:pt>
    <dgm:pt modelId="{65A9A385-2779-453E-8097-D1B6D4F42443}">
      <dgm:prSet custT="1"/>
      <dgm:spPr>
        <a:solidFill>
          <a:srgbClr val="00B0F0"/>
        </a:solidFill>
      </dgm:spPr>
      <dgm:t>
        <a:bodyPr vert="vert"/>
        <a:lstStyle/>
        <a:p>
          <a:r>
            <a:rPr lang="en-US" sz="700"/>
            <a:t>CSS Flexible Box Layout</a:t>
          </a:r>
        </a:p>
      </dgm:t>
    </dgm:pt>
    <dgm:pt modelId="{E4139AB5-0128-4FB3-9BFF-BF3603E126EF}" type="parTrans" cxnId="{E4BB45B2-C7EB-4345-AD16-E367DBC5EAAA}">
      <dgm:prSet/>
      <dgm:spPr/>
      <dgm:t>
        <a:bodyPr/>
        <a:lstStyle/>
        <a:p>
          <a:endParaRPr lang="en-US"/>
        </a:p>
      </dgm:t>
    </dgm:pt>
    <dgm:pt modelId="{C1A12ECE-DA77-4B31-A546-07F862698EFA}" type="sibTrans" cxnId="{E4BB45B2-C7EB-4345-AD16-E367DBC5EAAA}">
      <dgm:prSet/>
      <dgm:spPr/>
      <dgm:t>
        <a:bodyPr/>
        <a:lstStyle/>
        <a:p>
          <a:endParaRPr lang="en-US"/>
        </a:p>
      </dgm:t>
    </dgm:pt>
    <dgm:pt modelId="{72A2DB37-7175-47CD-BC01-118D5600554B}">
      <dgm:prSet custT="1"/>
      <dgm:spPr>
        <a:solidFill>
          <a:srgbClr val="00B0F0"/>
        </a:solidFill>
      </dgm:spPr>
      <dgm:t>
        <a:bodyPr vert="vert"/>
        <a:lstStyle/>
        <a:p>
          <a:r>
            <a:rPr lang="en-US" sz="700"/>
            <a:t>CSS Image Values</a:t>
          </a:r>
        </a:p>
      </dgm:t>
    </dgm:pt>
    <dgm:pt modelId="{6916AC13-A94E-4098-AA97-107A0685EA79}" type="parTrans" cxnId="{763D4888-3503-4D5A-8D1C-140D6FCE1694}">
      <dgm:prSet/>
      <dgm:spPr/>
      <dgm:t>
        <a:bodyPr/>
        <a:lstStyle/>
        <a:p>
          <a:endParaRPr lang="en-US"/>
        </a:p>
      </dgm:t>
    </dgm:pt>
    <dgm:pt modelId="{153EA82E-3FBC-4876-B492-3113C35F7C85}" type="sibTrans" cxnId="{763D4888-3503-4D5A-8D1C-140D6FCE1694}">
      <dgm:prSet/>
      <dgm:spPr/>
      <dgm:t>
        <a:bodyPr/>
        <a:lstStyle/>
        <a:p>
          <a:endParaRPr lang="en-US"/>
        </a:p>
      </dgm:t>
    </dgm:pt>
    <dgm:pt modelId="{B785808B-5E4C-435D-A12C-B53A9F0772A8}">
      <dgm:prSet custT="1"/>
      <dgm:spPr>
        <a:solidFill>
          <a:srgbClr val="00B0F0"/>
        </a:solidFill>
      </dgm:spPr>
      <dgm:t>
        <a:bodyPr vert="vert"/>
        <a:lstStyle/>
        <a:p>
          <a:r>
            <a:rPr lang="en-US" sz="700"/>
            <a:t>CSS 2D Transformations</a:t>
          </a:r>
        </a:p>
      </dgm:t>
    </dgm:pt>
    <dgm:pt modelId="{724A48AC-200D-40A5-8151-75A3B039CD4E}" type="parTrans" cxnId="{CEBD9979-1ADB-44C9-AD54-A40D0170CFC5}">
      <dgm:prSet/>
      <dgm:spPr/>
      <dgm:t>
        <a:bodyPr/>
        <a:lstStyle/>
        <a:p>
          <a:endParaRPr lang="en-US"/>
        </a:p>
      </dgm:t>
    </dgm:pt>
    <dgm:pt modelId="{781B7B71-577D-4CC3-9A5F-4A981C5B1731}" type="sibTrans" cxnId="{CEBD9979-1ADB-44C9-AD54-A40D0170CFC5}">
      <dgm:prSet/>
      <dgm:spPr/>
      <dgm:t>
        <a:bodyPr/>
        <a:lstStyle/>
        <a:p>
          <a:endParaRPr lang="en-US"/>
        </a:p>
      </dgm:t>
    </dgm:pt>
    <dgm:pt modelId="{A513F00B-9596-4CA9-8DBE-9691B926C9B0}">
      <dgm:prSet custT="1"/>
      <dgm:spPr>
        <a:solidFill>
          <a:srgbClr val="00B0F0"/>
        </a:solidFill>
      </dgm:spPr>
      <dgm:t>
        <a:bodyPr vert="vert"/>
        <a:lstStyle/>
        <a:p>
          <a:r>
            <a:rPr lang="en-US" sz="700"/>
            <a:t>CSS 3D Transformations</a:t>
          </a:r>
        </a:p>
      </dgm:t>
    </dgm:pt>
    <dgm:pt modelId="{55E30525-45C3-40DB-8BF9-01901D97DEAC}" type="parTrans" cxnId="{8095639E-204D-4E5F-AA0C-19AD81F5E123}">
      <dgm:prSet/>
      <dgm:spPr/>
      <dgm:t>
        <a:bodyPr/>
        <a:lstStyle/>
        <a:p>
          <a:endParaRPr lang="en-US"/>
        </a:p>
      </dgm:t>
    </dgm:pt>
    <dgm:pt modelId="{34679CB8-F16D-4E1C-9F0D-DC0A54A38ADD}" type="sibTrans" cxnId="{8095639E-204D-4E5F-AA0C-19AD81F5E123}">
      <dgm:prSet/>
      <dgm:spPr/>
      <dgm:t>
        <a:bodyPr/>
        <a:lstStyle/>
        <a:p>
          <a:endParaRPr lang="en-US"/>
        </a:p>
      </dgm:t>
    </dgm:pt>
    <dgm:pt modelId="{A4A80994-28F9-4EE8-89FD-45B63E089CC3}">
      <dgm:prSet custT="1"/>
      <dgm:spPr>
        <a:solidFill>
          <a:srgbClr val="00B0F0"/>
        </a:solidFill>
      </dgm:spPr>
      <dgm:t>
        <a:bodyPr vert="vert"/>
        <a:lstStyle/>
        <a:p>
          <a:r>
            <a:rPr lang="en-US" sz="700"/>
            <a:t>CSS Transitions</a:t>
          </a:r>
        </a:p>
      </dgm:t>
    </dgm:pt>
    <dgm:pt modelId="{0ABAC972-6257-4C1C-9C91-0B68A5CF14F0}" type="parTrans" cxnId="{5EF2AD82-929A-491D-9B63-50767169C352}">
      <dgm:prSet/>
      <dgm:spPr/>
      <dgm:t>
        <a:bodyPr/>
        <a:lstStyle/>
        <a:p>
          <a:endParaRPr lang="en-US"/>
        </a:p>
      </dgm:t>
    </dgm:pt>
    <dgm:pt modelId="{1B4BC288-7DF2-4B2F-9296-5E38C5F8398C}" type="sibTrans" cxnId="{5EF2AD82-929A-491D-9B63-50767169C352}">
      <dgm:prSet/>
      <dgm:spPr/>
      <dgm:t>
        <a:bodyPr/>
        <a:lstStyle/>
        <a:p>
          <a:endParaRPr lang="en-US"/>
        </a:p>
      </dgm:t>
    </dgm:pt>
    <dgm:pt modelId="{C71563D8-11EC-4FDC-9107-CA24E7C09704}">
      <dgm:prSet custT="1"/>
      <dgm:spPr>
        <a:solidFill>
          <a:srgbClr val="00B0F0"/>
        </a:solidFill>
      </dgm:spPr>
      <dgm:t>
        <a:bodyPr vert="vert"/>
        <a:lstStyle/>
        <a:p>
          <a:r>
            <a:rPr lang="en-US" sz="700"/>
            <a:t>CSS Animations</a:t>
          </a:r>
        </a:p>
      </dgm:t>
    </dgm:pt>
    <dgm:pt modelId="{02B261DD-3B3D-45BD-B88A-5CF8883BB797}" type="parTrans" cxnId="{FEDFC1D2-58B1-4998-8EA1-DD2D422EEB19}">
      <dgm:prSet/>
      <dgm:spPr/>
      <dgm:t>
        <a:bodyPr/>
        <a:lstStyle/>
        <a:p>
          <a:endParaRPr lang="en-US"/>
        </a:p>
      </dgm:t>
    </dgm:pt>
    <dgm:pt modelId="{ED44327B-6639-4E0A-BE72-3E76E8B2C01A}" type="sibTrans" cxnId="{FEDFC1D2-58B1-4998-8EA1-DD2D422EEB19}">
      <dgm:prSet/>
      <dgm:spPr/>
      <dgm:t>
        <a:bodyPr/>
        <a:lstStyle/>
        <a:p>
          <a:endParaRPr lang="en-US"/>
        </a:p>
      </dgm:t>
    </dgm:pt>
    <dgm:pt modelId="{CBD617BF-5B0F-44E8-8D5D-86AE9D05B5AA}">
      <dgm:prSet custT="1"/>
      <dgm:spPr>
        <a:solidFill>
          <a:schemeClr val="accent6"/>
        </a:solidFill>
      </dgm:spPr>
      <dgm:t>
        <a:bodyPr vert="horz"/>
        <a:lstStyle/>
        <a:p>
          <a:r>
            <a:rPr lang="en-US" sz="1600" dirty="0"/>
            <a:t>Web </a:t>
          </a:r>
          <a:r>
            <a:rPr lang="en-US" sz="1600" dirty="0" smtClean="0"/>
            <a:t>Apps</a:t>
          </a:r>
          <a:endParaRPr lang="en-US" sz="1600" dirty="0"/>
        </a:p>
      </dgm:t>
    </dgm:pt>
    <dgm:pt modelId="{0E95856A-0E8C-4970-BACE-996CEEA57A9F}" type="parTrans" cxnId="{2988D3C8-9452-4CAC-B6AD-A2371B353DFA}">
      <dgm:prSet/>
      <dgm:spPr/>
      <dgm:t>
        <a:bodyPr/>
        <a:lstStyle/>
        <a:p>
          <a:endParaRPr lang="en-US"/>
        </a:p>
      </dgm:t>
    </dgm:pt>
    <dgm:pt modelId="{32FB2FFC-3BAE-416D-B135-9C7A57B8B38D}" type="sibTrans" cxnId="{2988D3C8-9452-4CAC-B6AD-A2371B353DFA}">
      <dgm:prSet/>
      <dgm:spPr/>
      <dgm:t>
        <a:bodyPr/>
        <a:lstStyle/>
        <a:p>
          <a:endParaRPr lang="en-US"/>
        </a:p>
      </dgm:t>
    </dgm:pt>
    <dgm:pt modelId="{C1767B94-BBE7-4919-A83B-39C49EBB95CF}">
      <dgm:prSet custT="1"/>
      <dgm:spPr>
        <a:solidFill>
          <a:srgbClr val="00B0F0"/>
        </a:solidFill>
      </dgm:spPr>
      <dgm:t>
        <a:bodyPr vert="vert"/>
        <a:lstStyle/>
        <a:p>
          <a:r>
            <a:rPr lang="en-US" sz="700"/>
            <a:t>CORS</a:t>
          </a:r>
        </a:p>
      </dgm:t>
    </dgm:pt>
    <dgm:pt modelId="{5E762661-884F-4AAC-B274-1E4D2ECC0C83}" type="parTrans" cxnId="{5D9BCB13-388A-491E-BD57-30058C076C23}">
      <dgm:prSet/>
      <dgm:spPr/>
      <dgm:t>
        <a:bodyPr/>
        <a:lstStyle/>
        <a:p>
          <a:endParaRPr lang="en-US"/>
        </a:p>
      </dgm:t>
    </dgm:pt>
    <dgm:pt modelId="{E7F430CB-288E-4587-9D2A-CE28D6DD2807}" type="sibTrans" cxnId="{5D9BCB13-388A-491E-BD57-30058C076C23}">
      <dgm:prSet/>
      <dgm:spPr/>
      <dgm:t>
        <a:bodyPr/>
        <a:lstStyle/>
        <a:p>
          <a:endParaRPr lang="en-US"/>
        </a:p>
      </dgm:t>
    </dgm:pt>
    <dgm:pt modelId="{556A9ECF-4736-4089-931B-49850BA7C3CA}">
      <dgm:prSet custT="1"/>
      <dgm:spPr>
        <a:solidFill>
          <a:srgbClr val="00B0F0"/>
        </a:solidFill>
      </dgm:spPr>
      <dgm:t>
        <a:bodyPr vert="vert"/>
        <a:lstStyle/>
        <a:p>
          <a:r>
            <a:rPr lang="en-US" sz="700"/>
            <a:t>Element Traversal</a:t>
          </a:r>
        </a:p>
      </dgm:t>
    </dgm:pt>
    <dgm:pt modelId="{AFC92844-9100-40DC-8688-2120B7C2B9BE}" type="parTrans" cxnId="{DAD01BBC-F5CD-4183-8FF6-E317C3A990D9}">
      <dgm:prSet/>
      <dgm:spPr/>
      <dgm:t>
        <a:bodyPr/>
        <a:lstStyle/>
        <a:p>
          <a:endParaRPr lang="en-US"/>
        </a:p>
      </dgm:t>
    </dgm:pt>
    <dgm:pt modelId="{7A111E2E-7ED1-4FD3-8601-90ADCF143A1C}" type="sibTrans" cxnId="{DAD01BBC-F5CD-4183-8FF6-E317C3A990D9}">
      <dgm:prSet/>
      <dgm:spPr/>
      <dgm:t>
        <a:bodyPr/>
        <a:lstStyle/>
        <a:p>
          <a:endParaRPr lang="en-US"/>
        </a:p>
      </dgm:t>
    </dgm:pt>
    <dgm:pt modelId="{0C23D059-1E68-4F6A-96A1-26F7B8211E04}">
      <dgm:prSet custT="1"/>
      <dgm:spPr>
        <a:solidFill>
          <a:srgbClr val="00B0F0"/>
        </a:solidFill>
      </dgm:spPr>
      <dgm:t>
        <a:bodyPr vert="vert"/>
        <a:lstStyle/>
        <a:p>
          <a:r>
            <a:rPr lang="en-US" sz="700"/>
            <a:t>File API</a:t>
          </a:r>
        </a:p>
      </dgm:t>
    </dgm:pt>
    <dgm:pt modelId="{ED58BE1A-FBEF-4AB5-B62E-8B1B78336DF2}" type="parTrans" cxnId="{4EAA0C14-93FC-4B5F-9421-215AA7DFA863}">
      <dgm:prSet/>
      <dgm:spPr/>
      <dgm:t>
        <a:bodyPr/>
        <a:lstStyle/>
        <a:p>
          <a:endParaRPr lang="en-US"/>
        </a:p>
      </dgm:t>
    </dgm:pt>
    <dgm:pt modelId="{044A91DE-01DA-407B-A821-A47F76523ED9}" type="sibTrans" cxnId="{4EAA0C14-93FC-4B5F-9421-215AA7DFA863}">
      <dgm:prSet/>
      <dgm:spPr/>
      <dgm:t>
        <a:bodyPr/>
        <a:lstStyle/>
        <a:p>
          <a:endParaRPr lang="en-US"/>
        </a:p>
      </dgm:t>
    </dgm:pt>
    <dgm:pt modelId="{C0E1F3A0-2007-41F8-902D-FB88A77A945B}">
      <dgm:prSet custT="1"/>
      <dgm:spPr>
        <a:solidFill>
          <a:srgbClr val="00B0F0"/>
        </a:solidFill>
      </dgm:spPr>
      <dgm:t>
        <a:bodyPr vert="vert"/>
        <a:lstStyle/>
        <a:p>
          <a:r>
            <a:rPr lang="en-US" sz="700"/>
            <a:t>Index DB</a:t>
          </a:r>
        </a:p>
      </dgm:t>
    </dgm:pt>
    <dgm:pt modelId="{BC611D3D-42E2-47B6-A21A-D25E947864FE}" type="parTrans" cxnId="{45941DE5-60D6-44CC-8EC5-6D353F7B989F}">
      <dgm:prSet/>
      <dgm:spPr/>
      <dgm:t>
        <a:bodyPr/>
        <a:lstStyle/>
        <a:p>
          <a:endParaRPr lang="en-US"/>
        </a:p>
      </dgm:t>
    </dgm:pt>
    <dgm:pt modelId="{D2D31650-1528-44AE-A801-E454ECD32CFD}" type="sibTrans" cxnId="{45941DE5-60D6-44CC-8EC5-6D353F7B989F}">
      <dgm:prSet/>
      <dgm:spPr/>
      <dgm:t>
        <a:bodyPr/>
        <a:lstStyle/>
        <a:p>
          <a:endParaRPr lang="en-US"/>
        </a:p>
      </dgm:t>
    </dgm:pt>
    <dgm:pt modelId="{12FA561E-BEFF-41C5-8E21-C497F342100B}">
      <dgm:prSet custT="1"/>
      <dgm:spPr>
        <a:solidFill>
          <a:srgbClr val="00B0F0"/>
        </a:solidFill>
      </dgm:spPr>
      <dgm:t>
        <a:bodyPr vert="vert"/>
        <a:lstStyle/>
        <a:p>
          <a:r>
            <a:rPr lang="en-US" sz="500" dirty="0"/>
            <a:t>Programmable HTTP Caching and Serving</a:t>
          </a:r>
        </a:p>
      </dgm:t>
    </dgm:pt>
    <dgm:pt modelId="{DAB2D16F-DBA4-4DE1-8A8E-408A4F3E7A8C}" type="parTrans" cxnId="{E0E0DD77-C833-49C5-A7C8-29F3785ABB16}">
      <dgm:prSet/>
      <dgm:spPr/>
      <dgm:t>
        <a:bodyPr/>
        <a:lstStyle/>
        <a:p>
          <a:endParaRPr lang="en-US"/>
        </a:p>
      </dgm:t>
    </dgm:pt>
    <dgm:pt modelId="{C39AB9AE-2070-478C-9916-998D7688669F}" type="sibTrans" cxnId="{E0E0DD77-C833-49C5-A7C8-29F3785ABB16}">
      <dgm:prSet/>
      <dgm:spPr/>
      <dgm:t>
        <a:bodyPr/>
        <a:lstStyle/>
        <a:p>
          <a:endParaRPr lang="en-US"/>
        </a:p>
      </dgm:t>
    </dgm:pt>
    <dgm:pt modelId="{1E014006-3D55-4EE5-AD4E-479CD8866008}">
      <dgm:prSet custT="1"/>
      <dgm:spPr>
        <a:solidFill>
          <a:srgbClr val="00B0F0"/>
        </a:solidFill>
      </dgm:spPr>
      <dgm:t>
        <a:bodyPr vert="vert"/>
        <a:lstStyle/>
        <a:p>
          <a:r>
            <a:rPr lang="en-US" sz="700"/>
            <a:t>Progress Events</a:t>
          </a:r>
        </a:p>
      </dgm:t>
    </dgm:pt>
    <dgm:pt modelId="{568E23CE-CD23-41F9-8A49-D4E5D77CEA3B}" type="parTrans" cxnId="{92C88B37-0D43-4E46-A4CA-B33C4200B8BE}">
      <dgm:prSet/>
      <dgm:spPr/>
      <dgm:t>
        <a:bodyPr/>
        <a:lstStyle/>
        <a:p>
          <a:endParaRPr lang="en-US"/>
        </a:p>
      </dgm:t>
    </dgm:pt>
    <dgm:pt modelId="{2B1A5490-387D-4F75-B281-7AA524293143}" type="sibTrans" cxnId="{92C88B37-0D43-4E46-A4CA-B33C4200B8BE}">
      <dgm:prSet/>
      <dgm:spPr/>
      <dgm:t>
        <a:bodyPr/>
        <a:lstStyle/>
        <a:p>
          <a:endParaRPr lang="en-US"/>
        </a:p>
      </dgm:t>
    </dgm:pt>
    <dgm:pt modelId="{9A48FB60-8B1C-4DF6-A844-47408D5A166C}">
      <dgm:prSet custT="1"/>
      <dgm:spPr>
        <a:solidFill>
          <a:srgbClr val="00B0F0"/>
        </a:solidFill>
      </dgm:spPr>
      <dgm:t>
        <a:bodyPr vert="vert"/>
        <a:lstStyle/>
        <a:p>
          <a:r>
            <a:rPr lang="en-US" sz="700"/>
            <a:t>Selectors API</a:t>
          </a:r>
        </a:p>
      </dgm:t>
    </dgm:pt>
    <dgm:pt modelId="{245E4309-DBB0-48F6-894A-418D80DF2C91}" type="parTrans" cxnId="{9ADC4364-8D9D-4ADA-A2A5-1DEEDC96BA3E}">
      <dgm:prSet/>
      <dgm:spPr/>
      <dgm:t>
        <a:bodyPr/>
        <a:lstStyle/>
        <a:p>
          <a:endParaRPr lang="en-US"/>
        </a:p>
      </dgm:t>
    </dgm:pt>
    <dgm:pt modelId="{6C0656F4-2284-4DC9-ACDD-F1BDCBE6F919}" type="sibTrans" cxnId="{9ADC4364-8D9D-4ADA-A2A5-1DEEDC96BA3E}">
      <dgm:prSet/>
      <dgm:spPr/>
      <dgm:t>
        <a:bodyPr/>
        <a:lstStyle/>
        <a:p>
          <a:endParaRPr lang="en-US"/>
        </a:p>
      </dgm:t>
    </dgm:pt>
    <dgm:pt modelId="{4D270442-3445-4A52-A0F8-BD7165E237CF}">
      <dgm:prSet custT="1"/>
      <dgm:spPr>
        <a:solidFill>
          <a:srgbClr val="00B0F0"/>
        </a:solidFill>
      </dgm:spPr>
      <dgm:t>
        <a:bodyPr vert="vert"/>
        <a:lstStyle/>
        <a:p>
          <a:r>
            <a:rPr lang="en-US" sz="700"/>
            <a:t>Selectors API L2</a:t>
          </a:r>
        </a:p>
      </dgm:t>
    </dgm:pt>
    <dgm:pt modelId="{143D3230-D9BE-4DE7-A615-2B403E984A0D}" type="parTrans" cxnId="{FAAB4973-9505-47A6-B9C6-50B07A7147FA}">
      <dgm:prSet/>
      <dgm:spPr/>
      <dgm:t>
        <a:bodyPr/>
        <a:lstStyle/>
        <a:p>
          <a:endParaRPr lang="en-US"/>
        </a:p>
      </dgm:t>
    </dgm:pt>
    <dgm:pt modelId="{8D535F41-A26A-4F0E-9B06-A34102D318F1}" type="sibTrans" cxnId="{FAAB4973-9505-47A6-B9C6-50B07A7147FA}">
      <dgm:prSet/>
      <dgm:spPr/>
      <dgm:t>
        <a:bodyPr/>
        <a:lstStyle/>
        <a:p>
          <a:endParaRPr lang="en-US"/>
        </a:p>
      </dgm:t>
    </dgm:pt>
    <dgm:pt modelId="{1F94D81B-9139-4C7D-8A25-C6E46482E30F}">
      <dgm:prSet custT="1"/>
      <dgm:spPr>
        <a:solidFill>
          <a:srgbClr val="00B0F0"/>
        </a:solidFill>
      </dgm:spPr>
      <dgm:t>
        <a:bodyPr vert="vert"/>
        <a:lstStyle/>
        <a:p>
          <a:r>
            <a:rPr lang="en-US" sz="700"/>
            <a:t>Server-Sent Events</a:t>
          </a:r>
        </a:p>
      </dgm:t>
    </dgm:pt>
    <dgm:pt modelId="{5B1347DB-0255-43F7-B256-3C4FC33FEFF3}" type="parTrans" cxnId="{AA54A104-B7A2-49F1-9066-FA26FB37A2E8}">
      <dgm:prSet/>
      <dgm:spPr/>
      <dgm:t>
        <a:bodyPr/>
        <a:lstStyle/>
        <a:p>
          <a:endParaRPr lang="en-US"/>
        </a:p>
      </dgm:t>
    </dgm:pt>
    <dgm:pt modelId="{1F3CC8A2-FC03-4D00-833F-9432B9F26FEE}" type="sibTrans" cxnId="{AA54A104-B7A2-49F1-9066-FA26FB37A2E8}">
      <dgm:prSet/>
      <dgm:spPr/>
      <dgm:t>
        <a:bodyPr/>
        <a:lstStyle/>
        <a:p>
          <a:endParaRPr lang="en-US"/>
        </a:p>
      </dgm:t>
    </dgm:pt>
    <dgm:pt modelId="{6B4982F5-093E-4942-BADB-5FDD2C8D2469}">
      <dgm:prSet custT="1"/>
      <dgm:spPr>
        <a:solidFill>
          <a:srgbClr val="00B0F0"/>
        </a:solidFill>
      </dgm:spPr>
      <dgm:t>
        <a:bodyPr vert="vert"/>
        <a:lstStyle/>
        <a:p>
          <a:r>
            <a:rPr lang="en-US" sz="700"/>
            <a:t>Uniform Messaging Policy</a:t>
          </a:r>
        </a:p>
      </dgm:t>
    </dgm:pt>
    <dgm:pt modelId="{CDB0C113-0891-4B6A-A589-E9D6C77A676C}" type="parTrans" cxnId="{196A9337-0873-4EA1-B11A-2CFB2C56F8BB}">
      <dgm:prSet/>
      <dgm:spPr/>
      <dgm:t>
        <a:bodyPr/>
        <a:lstStyle/>
        <a:p>
          <a:endParaRPr lang="en-US"/>
        </a:p>
      </dgm:t>
    </dgm:pt>
    <dgm:pt modelId="{38C83C95-F7D1-43FA-9CF7-647DA21B46D5}" type="sibTrans" cxnId="{196A9337-0873-4EA1-B11A-2CFB2C56F8BB}">
      <dgm:prSet/>
      <dgm:spPr/>
      <dgm:t>
        <a:bodyPr/>
        <a:lstStyle/>
        <a:p>
          <a:endParaRPr lang="en-US"/>
        </a:p>
      </dgm:t>
    </dgm:pt>
    <dgm:pt modelId="{24961BA2-9A7D-4EC1-9A2C-9B93647E0C4E}">
      <dgm:prSet custT="1"/>
      <dgm:spPr>
        <a:solidFill>
          <a:srgbClr val="00B0F0"/>
        </a:solidFill>
      </dgm:spPr>
      <dgm:t>
        <a:bodyPr vert="vert"/>
        <a:lstStyle/>
        <a:p>
          <a:r>
            <a:rPr lang="en-US" sz="700"/>
            <a:t>Web DOM Core</a:t>
          </a:r>
        </a:p>
      </dgm:t>
    </dgm:pt>
    <dgm:pt modelId="{3E65AAA3-F977-415B-AF16-0D3B2C7DA625}" type="parTrans" cxnId="{9DE35F13-50C7-46E3-BE6C-093E3CA43CA8}">
      <dgm:prSet/>
      <dgm:spPr/>
      <dgm:t>
        <a:bodyPr/>
        <a:lstStyle/>
        <a:p>
          <a:endParaRPr lang="en-US"/>
        </a:p>
      </dgm:t>
    </dgm:pt>
    <dgm:pt modelId="{1BE4D8AC-F2BD-4C88-AB9B-DB49DAE5E4A9}" type="sibTrans" cxnId="{9DE35F13-50C7-46E3-BE6C-093E3CA43CA8}">
      <dgm:prSet/>
      <dgm:spPr/>
      <dgm:t>
        <a:bodyPr/>
        <a:lstStyle/>
        <a:p>
          <a:endParaRPr lang="en-US"/>
        </a:p>
      </dgm:t>
    </dgm:pt>
    <dgm:pt modelId="{F7CB1295-B28E-435A-802B-E35289FFD3F1}">
      <dgm:prSet custT="1"/>
      <dgm:spPr>
        <a:solidFill>
          <a:srgbClr val="00B0F0"/>
        </a:solidFill>
      </dgm:spPr>
      <dgm:t>
        <a:bodyPr vert="vert"/>
        <a:lstStyle/>
        <a:p>
          <a:r>
            <a:rPr lang="en-US" sz="700"/>
            <a:t>Web SQL Database</a:t>
          </a:r>
        </a:p>
      </dgm:t>
    </dgm:pt>
    <dgm:pt modelId="{0644EB6D-7F2D-4FBD-AF9B-52D113919F3F}" type="parTrans" cxnId="{4EFE1FDC-C5EF-4365-B971-FB685E410735}">
      <dgm:prSet/>
      <dgm:spPr/>
      <dgm:t>
        <a:bodyPr/>
        <a:lstStyle/>
        <a:p>
          <a:endParaRPr lang="en-US"/>
        </a:p>
      </dgm:t>
    </dgm:pt>
    <dgm:pt modelId="{79B9C237-D330-469E-80A7-57782AA31FE5}" type="sibTrans" cxnId="{4EFE1FDC-C5EF-4365-B971-FB685E410735}">
      <dgm:prSet/>
      <dgm:spPr/>
      <dgm:t>
        <a:bodyPr/>
        <a:lstStyle/>
        <a:p>
          <a:endParaRPr lang="en-US"/>
        </a:p>
      </dgm:t>
    </dgm:pt>
    <dgm:pt modelId="{B6A8E937-0DD2-4105-8D62-061DD73BD8C7}">
      <dgm:prSet custT="1"/>
      <dgm:spPr>
        <a:solidFill>
          <a:srgbClr val="00B0F0"/>
        </a:solidFill>
      </dgm:spPr>
      <dgm:t>
        <a:bodyPr vert="vert"/>
        <a:lstStyle/>
        <a:p>
          <a:r>
            <a:rPr lang="en-US" sz="700"/>
            <a:t>Web IDL</a:t>
          </a:r>
        </a:p>
      </dgm:t>
    </dgm:pt>
    <dgm:pt modelId="{340CEDAD-1EBF-4204-A852-7D5C91CF1EB4}" type="parTrans" cxnId="{EF0F9D88-A537-4F73-A058-BC65BCDD969C}">
      <dgm:prSet/>
      <dgm:spPr/>
      <dgm:t>
        <a:bodyPr/>
        <a:lstStyle/>
        <a:p>
          <a:endParaRPr lang="en-US"/>
        </a:p>
      </dgm:t>
    </dgm:pt>
    <dgm:pt modelId="{76ABE6DB-C970-4D7A-BDFC-125627B38830}" type="sibTrans" cxnId="{EF0F9D88-A537-4F73-A058-BC65BCDD969C}">
      <dgm:prSet/>
      <dgm:spPr/>
      <dgm:t>
        <a:bodyPr/>
        <a:lstStyle/>
        <a:p>
          <a:endParaRPr lang="en-US"/>
        </a:p>
      </dgm:t>
    </dgm:pt>
    <dgm:pt modelId="{99517A22-4718-4F66-9A55-934AD0B68D90}">
      <dgm:prSet custT="1"/>
      <dgm:spPr>
        <a:solidFill>
          <a:srgbClr val="00B0F0"/>
        </a:solidFill>
      </dgm:spPr>
      <dgm:t>
        <a:bodyPr vert="vert"/>
        <a:lstStyle/>
        <a:p>
          <a:r>
            <a:rPr lang="en-US" sz="700"/>
            <a:t>Web Sockets API</a:t>
          </a:r>
        </a:p>
      </dgm:t>
    </dgm:pt>
    <dgm:pt modelId="{02061AD7-D059-40D8-8030-8BC42DBE1C01}" type="parTrans" cxnId="{BD00B04A-CE73-4B1C-8083-DAA73E2F98F4}">
      <dgm:prSet/>
      <dgm:spPr/>
      <dgm:t>
        <a:bodyPr/>
        <a:lstStyle/>
        <a:p>
          <a:endParaRPr lang="en-US"/>
        </a:p>
      </dgm:t>
    </dgm:pt>
    <dgm:pt modelId="{31D12949-E409-473C-956C-9B7F123BFA0B}" type="sibTrans" cxnId="{BD00B04A-CE73-4B1C-8083-DAA73E2F98F4}">
      <dgm:prSet/>
      <dgm:spPr/>
      <dgm:t>
        <a:bodyPr/>
        <a:lstStyle/>
        <a:p>
          <a:endParaRPr lang="en-US"/>
        </a:p>
      </dgm:t>
    </dgm:pt>
    <dgm:pt modelId="{5EE9F4C9-2599-49B6-8ECD-0BB37D2C3F87}">
      <dgm:prSet custT="1"/>
      <dgm:spPr>
        <a:solidFill>
          <a:srgbClr val="00B0F0"/>
        </a:solidFill>
      </dgm:spPr>
      <dgm:t>
        <a:bodyPr vert="vert"/>
        <a:lstStyle/>
        <a:p>
          <a:r>
            <a:rPr lang="en-US" sz="700"/>
            <a:t>Web Storage</a:t>
          </a:r>
        </a:p>
      </dgm:t>
    </dgm:pt>
    <dgm:pt modelId="{069A03DC-A021-4E97-9E2B-A6FA256ED38A}" type="parTrans" cxnId="{B6D417C3-9F4F-4AFE-8935-55058C6B3979}">
      <dgm:prSet/>
      <dgm:spPr/>
      <dgm:t>
        <a:bodyPr/>
        <a:lstStyle/>
        <a:p>
          <a:endParaRPr lang="en-US"/>
        </a:p>
      </dgm:t>
    </dgm:pt>
    <dgm:pt modelId="{17806EAE-C4F4-467A-B820-8C1CA2EBD8A0}" type="sibTrans" cxnId="{B6D417C3-9F4F-4AFE-8935-55058C6B3979}">
      <dgm:prSet/>
      <dgm:spPr/>
      <dgm:t>
        <a:bodyPr/>
        <a:lstStyle/>
        <a:p>
          <a:endParaRPr lang="en-US"/>
        </a:p>
      </dgm:t>
    </dgm:pt>
    <dgm:pt modelId="{191B23CF-7DD2-4EFA-B08B-2250979F1293}">
      <dgm:prSet custT="1"/>
      <dgm:spPr>
        <a:solidFill>
          <a:srgbClr val="00B0F0"/>
        </a:solidFill>
      </dgm:spPr>
      <dgm:t>
        <a:bodyPr vert="vert"/>
        <a:lstStyle/>
        <a:p>
          <a:r>
            <a:rPr lang="en-US" sz="700"/>
            <a:t>Web Workers</a:t>
          </a:r>
        </a:p>
      </dgm:t>
    </dgm:pt>
    <dgm:pt modelId="{212D9D58-D4C7-42F5-B8F1-9322812256AF}" type="parTrans" cxnId="{7D296AF2-E7A7-4C72-92D0-DC617537DB46}">
      <dgm:prSet/>
      <dgm:spPr/>
      <dgm:t>
        <a:bodyPr/>
        <a:lstStyle/>
        <a:p>
          <a:endParaRPr lang="en-US"/>
        </a:p>
      </dgm:t>
    </dgm:pt>
    <dgm:pt modelId="{FB645C20-D1C7-46F3-9EB5-EDC78953F109}" type="sibTrans" cxnId="{7D296AF2-E7A7-4C72-92D0-DC617537DB46}">
      <dgm:prSet/>
      <dgm:spPr/>
      <dgm:t>
        <a:bodyPr/>
        <a:lstStyle/>
        <a:p>
          <a:endParaRPr lang="en-US"/>
        </a:p>
      </dgm:t>
    </dgm:pt>
    <dgm:pt modelId="{A2864230-E369-45B2-841F-E8EDBF94FD90}">
      <dgm:prSet custT="1"/>
      <dgm:spPr>
        <a:solidFill>
          <a:srgbClr val="00B0F0"/>
        </a:solidFill>
      </dgm:spPr>
      <dgm:t>
        <a:bodyPr vert="vert"/>
        <a:lstStyle/>
        <a:p>
          <a:r>
            <a:rPr lang="en-US" sz="700"/>
            <a:t>XmlHttpRequest</a:t>
          </a:r>
        </a:p>
      </dgm:t>
    </dgm:pt>
    <dgm:pt modelId="{268D9773-44DD-4D11-9478-55B267D98F18}" type="parTrans" cxnId="{D8C47291-C324-4FDF-B001-4AF075B92A92}">
      <dgm:prSet/>
      <dgm:spPr/>
      <dgm:t>
        <a:bodyPr/>
        <a:lstStyle/>
        <a:p>
          <a:endParaRPr lang="en-US"/>
        </a:p>
      </dgm:t>
    </dgm:pt>
    <dgm:pt modelId="{A1A2BE9E-7F45-4178-83E8-BCDFA6AD1772}" type="sibTrans" cxnId="{D8C47291-C324-4FDF-B001-4AF075B92A92}">
      <dgm:prSet/>
      <dgm:spPr/>
      <dgm:t>
        <a:bodyPr/>
        <a:lstStyle/>
        <a:p>
          <a:endParaRPr lang="en-US"/>
        </a:p>
      </dgm:t>
    </dgm:pt>
    <dgm:pt modelId="{C22E2E36-6DC9-478C-AD5F-377674B6197C}">
      <dgm:prSet custT="1"/>
      <dgm:spPr>
        <a:solidFill>
          <a:srgbClr val="00B0F0"/>
        </a:solidFill>
      </dgm:spPr>
      <dgm:t>
        <a:bodyPr vert="vert"/>
        <a:lstStyle/>
        <a:p>
          <a:r>
            <a:rPr lang="en-US" sz="700"/>
            <a:t>XmlHttpRequest L2</a:t>
          </a:r>
        </a:p>
      </dgm:t>
    </dgm:pt>
    <dgm:pt modelId="{247EC92A-7037-4F4D-B37E-DFD71A1F8102}" type="parTrans" cxnId="{FAB461B6-34A2-426D-B1AD-E36A9F104B0E}">
      <dgm:prSet/>
      <dgm:spPr/>
      <dgm:t>
        <a:bodyPr/>
        <a:lstStyle/>
        <a:p>
          <a:endParaRPr lang="en-US"/>
        </a:p>
      </dgm:t>
    </dgm:pt>
    <dgm:pt modelId="{BA88CD6D-6C28-482C-9695-F0BBABDE9B9D}" type="sibTrans" cxnId="{FAB461B6-34A2-426D-B1AD-E36A9F104B0E}">
      <dgm:prSet/>
      <dgm:spPr/>
      <dgm:t>
        <a:bodyPr/>
        <a:lstStyle/>
        <a:p>
          <a:endParaRPr lang="en-US"/>
        </a:p>
      </dgm:t>
    </dgm:pt>
    <dgm:pt modelId="{93B9F80F-01B9-433A-8A06-2917E6BFD2D8}">
      <dgm:prSet custT="1"/>
      <dgm:spPr>
        <a:solidFill>
          <a:srgbClr val="00B0F0"/>
        </a:solidFill>
      </dgm:spPr>
      <dgm:t>
        <a:bodyPr vert="vert"/>
        <a:lstStyle/>
        <a:p>
          <a:r>
            <a:rPr lang="en-US" sz="700" dirty="0"/>
            <a:t>DOM L1</a:t>
          </a:r>
        </a:p>
      </dgm:t>
    </dgm:pt>
    <dgm:pt modelId="{35A9A5C5-E672-4A90-9C6E-C9B13CB3C917}" type="parTrans" cxnId="{310B3FBD-0C32-408A-AB99-36D43A307D7D}">
      <dgm:prSet/>
      <dgm:spPr/>
      <dgm:t>
        <a:bodyPr/>
        <a:lstStyle/>
        <a:p>
          <a:endParaRPr lang="en-US"/>
        </a:p>
      </dgm:t>
    </dgm:pt>
    <dgm:pt modelId="{CEE0AD01-6887-441C-80E9-B3214FFED5E6}" type="sibTrans" cxnId="{310B3FBD-0C32-408A-AB99-36D43A307D7D}">
      <dgm:prSet/>
      <dgm:spPr/>
      <dgm:t>
        <a:bodyPr/>
        <a:lstStyle/>
        <a:p>
          <a:endParaRPr lang="en-US"/>
        </a:p>
      </dgm:t>
    </dgm:pt>
    <dgm:pt modelId="{850BFAEB-B241-4575-B7D6-F8675B28D3C9}">
      <dgm:prSet custT="1"/>
      <dgm:spPr>
        <a:solidFill>
          <a:srgbClr val="00B0F0"/>
        </a:solidFill>
      </dgm:spPr>
      <dgm:t>
        <a:bodyPr vert="vert"/>
        <a:lstStyle/>
        <a:p>
          <a:r>
            <a:rPr lang="en-US" sz="700"/>
            <a:t>DOM L2 Core</a:t>
          </a:r>
        </a:p>
      </dgm:t>
    </dgm:pt>
    <dgm:pt modelId="{26AD4B9B-1630-4373-9166-18CB6F8D0D00}" type="parTrans" cxnId="{81EFA4E9-402C-4795-B0A9-13625E769ADB}">
      <dgm:prSet/>
      <dgm:spPr/>
      <dgm:t>
        <a:bodyPr/>
        <a:lstStyle/>
        <a:p>
          <a:endParaRPr lang="en-US"/>
        </a:p>
      </dgm:t>
    </dgm:pt>
    <dgm:pt modelId="{B0B681B4-0D1E-476D-8137-812245E20D07}" type="sibTrans" cxnId="{81EFA4E9-402C-4795-B0A9-13625E769ADB}">
      <dgm:prSet/>
      <dgm:spPr/>
      <dgm:t>
        <a:bodyPr/>
        <a:lstStyle/>
        <a:p>
          <a:endParaRPr lang="en-US"/>
        </a:p>
      </dgm:t>
    </dgm:pt>
    <dgm:pt modelId="{B9D76A61-0BDC-4C7B-B330-651B48689A8E}">
      <dgm:prSet custT="1"/>
      <dgm:spPr>
        <a:solidFill>
          <a:srgbClr val="00B0F0"/>
        </a:solidFill>
      </dgm:spPr>
      <dgm:t>
        <a:bodyPr vert="vert"/>
        <a:lstStyle/>
        <a:p>
          <a:r>
            <a:rPr lang="en-US" sz="700"/>
            <a:t>DOM L2 Views</a:t>
          </a:r>
        </a:p>
      </dgm:t>
    </dgm:pt>
    <dgm:pt modelId="{0566A75B-000F-4472-B081-631A4CCC2E31}" type="parTrans" cxnId="{CCA41D3F-6874-46F2-BEB0-0E3630A0B22D}">
      <dgm:prSet/>
      <dgm:spPr/>
      <dgm:t>
        <a:bodyPr/>
        <a:lstStyle/>
        <a:p>
          <a:endParaRPr lang="en-US"/>
        </a:p>
      </dgm:t>
    </dgm:pt>
    <dgm:pt modelId="{63C184FB-AC5A-4112-80BD-A56DECC1C5AE}" type="sibTrans" cxnId="{CCA41D3F-6874-46F2-BEB0-0E3630A0B22D}">
      <dgm:prSet/>
      <dgm:spPr/>
      <dgm:t>
        <a:bodyPr/>
        <a:lstStyle/>
        <a:p>
          <a:endParaRPr lang="en-US"/>
        </a:p>
      </dgm:t>
    </dgm:pt>
    <dgm:pt modelId="{17E2BEE8-9023-4AAC-AD05-4AC0C3BE7EB6}">
      <dgm:prSet custT="1"/>
      <dgm:spPr>
        <a:solidFill>
          <a:srgbClr val="00B0F0"/>
        </a:solidFill>
      </dgm:spPr>
      <dgm:t>
        <a:bodyPr vert="vert"/>
        <a:lstStyle/>
        <a:p>
          <a:r>
            <a:rPr lang="en-US" sz="700"/>
            <a:t>DOM L2 Events</a:t>
          </a:r>
        </a:p>
      </dgm:t>
    </dgm:pt>
    <dgm:pt modelId="{FF73CB06-1AA4-42AC-80EA-E8E48687148D}" type="parTrans" cxnId="{1EB3FBD1-CFD0-4E62-9466-7A4E5EFF0DDF}">
      <dgm:prSet/>
      <dgm:spPr/>
      <dgm:t>
        <a:bodyPr/>
        <a:lstStyle/>
        <a:p>
          <a:endParaRPr lang="en-US"/>
        </a:p>
      </dgm:t>
    </dgm:pt>
    <dgm:pt modelId="{2D15C1C7-9403-4054-A7BD-085719FD698F}" type="sibTrans" cxnId="{1EB3FBD1-CFD0-4E62-9466-7A4E5EFF0DDF}">
      <dgm:prSet/>
      <dgm:spPr/>
      <dgm:t>
        <a:bodyPr/>
        <a:lstStyle/>
        <a:p>
          <a:endParaRPr lang="en-US"/>
        </a:p>
      </dgm:t>
    </dgm:pt>
    <dgm:pt modelId="{1271AAED-FCF3-413D-BF8A-A56F74ACA8EE}">
      <dgm:prSet custT="1"/>
      <dgm:spPr>
        <a:solidFill>
          <a:srgbClr val="00B0F0"/>
        </a:solidFill>
      </dgm:spPr>
      <dgm:t>
        <a:bodyPr vert="vert"/>
        <a:lstStyle/>
        <a:p>
          <a:r>
            <a:rPr lang="en-US" sz="700"/>
            <a:t>DOM L2 Style</a:t>
          </a:r>
        </a:p>
      </dgm:t>
    </dgm:pt>
    <dgm:pt modelId="{5E46C713-02E2-4530-9F16-A97A04E83F66}" type="parTrans" cxnId="{173600B6-394C-4D04-8911-FADAEA76239A}">
      <dgm:prSet/>
      <dgm:spPr/>
      <dgm:t>
        <a:bodyPr/>
        <a:lstStyle/>
        <a:p>
          <a:endParaRPr lang="en-US"/>
        </a:p>
      </dgm:t>
    </dgm:pt>
    <dgm:pt modelId="{13B823BB-CD2C-46A6-9811-27C62B33CAC6}" type="sibTrans" cxnId="{173600B6-394C-4D04-8911-FADAEA76239A}">
      <dgm:prSet/>
      <dgm:spPr/>
      <dgm:t>
        <a:bodyPr/>
        <a:lstStyle/>
        <a:p>
          <a:endParaRPr lang="en-US"/>
        </a:p>
      </dgm:t>
    </dgm:pt>
    <dgm:pt modelId="{BED6532E-8FC1-408A-B694-E83E77FB3BEB}">
      <dgm:prSet custT="1"/>
      <dgm:spPr>
        <a:solidFill>
          <a:srgbClr val="00B0F0"/>
        </a:solidFill>
      </dgm:spPr>
      <dgm:t>
        <a:bodyPr vert="vert"/>
        <a:lstStyle/>
        <a:p>
          <a:r>
            <a:rPr lang="en-US" sz="700"/>
            <a:t>DOM L2 Traversal and Range</a:t>
          </a:r>
        </a:p>
      </dgm:t>
    </dgm:pt>
    <dgm:pt modelId="{F707C646-7631-40D7-AEF3-59308FEC3DB4}" type="parTrans" cxnId="{5C0ADB36-9154-49B6-8CA1-CB6B5C721233}">
      <dgm:prSet/>
      <dgm:spPr/>
      <dgm:t>
        <a:bodyPr/>
        <a:lstStyle/>
        <a:p>
          <a:endParaRPr lang="en-US"/>
        </a:p>
      </dgm:t>
    </dgm:pt>
    <dgm:pt modelId="{22554FAD-D0EA-44E5-919E-E51960214DFC}" type="sibTrans" cxnId="{5C0ADB36-9154-49B6-8CA1-CB6B5C721233}">
      <dgm:prSet/>
      <dgm:spPr/>
      <dgm:t>
        <a:bodyPr/>
        <a:lstStyle/>
        <a:p>
          <a:endParaRPr lang="en-US"/>
        </a:p>
      </dgm:t>
    </dgm:pt>
    <dgm:pt modelId="{1A45ED5A-C37E-4848-8B37-1BD715801ED1}">
      <dgm:prSet custT="1"/>
      <dgm:spPr>
        <a:solidFill>
          <a:srgbClr val="00B0F0"/>
        </a:solidFill>
      </dgm:spPr>
      <dgm:t>
        <a:bodyPr vert="vert"/>
        <a:lstStyle/>
        <a:p>
          <a:r>
            <a:rPr lang="en-US" sz="700"/>
            <a:t>DOM L2 HTML</a:t>
          </a:r>
        </a:p>
      </dgm:t>
    </dgm:pt>
    <dgm:pt modelId="{DD5B2D5C-A53B-4C56-8A2A-F600B870194A}" type="parTrans" cxnId="{222BBBBE-6A98-4DFC-AFCF-BACE2B6E4FBC}">
      <dgm:prSet/>
      <dgm:spPr/>
      <dgm:t>
        <a:bodyPr/>
        <a:lstStyle/>
        <a:p>
          <a:endParaRPr lang="en-US"/>
        </a:p>
      </dgm:t>
    </dgm:pt>
    <dgm:pt modelId="{ED1FCB71-CFFC-4DD0-9E8A-84AD906EA88E}" type="sibTrans" cxnId="{222BBBBE-6A98-4DFC-AFCF-BACE2B6E4FBC}">
      <dgm:prSet/>
      <dgm:spPr/>
      <dgm:t>
        <a:bodyPr/>
        <a:lstStyle/>
        <a:p>
          <a:endParaRPr lang="en-US"/>
        </a:p>
      </dgm:t>
    </dgm:pt>
    <dgm:pt modelId="{B86604B5-DEAA-4A3D-96A5-43D6B62C4E86}">
      <dgm:prSet custT="1"/>
      <dgm:spPr>
        <a:solidFill>
          <a:srgbClr val="00B0F0"/>
        </a:solidFill>
      </dgm:spPr>
      <dgm:t>
        <a:bodyPr vert="vert"/>
        <a:lstStyle/>
        <a:p>
          <a:r>
            <a:rPr lang="en-US" sz="700"/>
            <a:t>DOM L3 Core</a:t>
          </a:r>
        </a:p>
      </dgm:t>
    </dgm:pt>
    <dgm:pt modelId="{AE9C5D8C-31BA-43C1-B99A-09AB403CE382}" type="parTrans" cxnId="{9B0EE819-E054-48FF-ACD0-AA3E8A70A2A9}">
      <dgm:prSet/>
      <dgm:spPr/>
      <dgm:t>
        <a:bodyPr/>
        <a:lstStyle/>
        <a:p>
          <a:endParaRPr lang="en-US"/>
        </a:p>
      </dgm:t>
    </dgm:pt>
    <dgm:pt modelId="{5A79C451-F6DF-40D3-AC79-35BE7701D19C}" type="sibTrans" cxnId="{9B0EE819-E054-48FF-ACD0-AA3E8A70A2A9}">
      <dgm:prSet/>
      <dgm:spPr/>
      <dgm:t>
        <a:bodyPr/>
        <a:lstStyle/>
        <a:p>
          <a:endParaRPr lang="en-US"/>
        </a:p>
      </dgm:t>
    </dgm:pt>
    <dgm:pt modelId="{5F8757A5-463E-4B88-97EC-DB3CBA442D9E}">
      <dgm:prSet custT="1"/>
      <dgm:spPr>
        <a:solidFill>
          <a:srgbClr val="00B0F0"/>
        </a:solidFill>
      </dgm:spPr>
      <dgm:t>
        <a:bodyPr vert="vert"/>
        <a:lstStyle/>
        <a:p>
          <a:r>
            <a:rPr lang="en-US" sz="700"/>
            <a:t>DOM L3 Events</a:t>
          </a:r>
        </a:p>
      </dgm:t>
    </dgm:pt>
    <dgm:pt modelId="{A8BC186A-4DC1-4742-82CB-2DE1D2A32FF4}" type="parTrans" cxnId="{FA48B9C7-B83F-406E-B212-30B62D188B30}">
      <dgm:prSet/>
      <dgm:spPr/>
      <dgm:t>
        <a:bodyPr/>
        <a:lstStyle/>
        <a:p>
          <a:endParaRPr lang="en-US"/>
        </a:p>
      </dgm:t>
    </dgm:pt>
    <dgm:pt modelId="{2B2E4D0C-9AA4-4F95-BCFF-C47A3679D758}" type="sibTrans" cxnId="{FA48B9C7-B83F-406E-B212-30B62D188B30}">
      <dgm:prSet/>
      <dgm:spPr/>
      <dgm:t>
        <a:bodyPr/>
        <a:lstStyle/>
        <a:p>
          <a:endParaRPr lang="en-US"/>
        </a:p>
      </dgm:t>
    </dgm:pt>
    <dgm:pt modelId="{9C9361CC-FE51-4F6F-B6A8-DF6E0E78E0F7}">
      <dgm:prSet custT="1"/>
      <dgm:spPr>
        <a:solidFill>
          <a:srgbClr val="00B0F0"/>
        </a:solidFill>
      </dgm:spPr>
      <dgm:t>
        <a:bodyPr vert="vert"/>
        <a:lstStyle/>
        <a:p>
          <a:r>
            <a:rPr lang="en-US" sz="700"/>
            <a:t>DOM L3 Load and Save</a:t>
          </a:r>
        </a:p>
      </dgm:t>
    </dgm:pt>
    <dgm:pt modelId="{EB07B378-FEDD-463A-8879-63E68CB72789}" type="parTrans" cxnId="{E22B4ADF-5DC6-43BE-98FB-3DADA3F82DA3}">
      <dgm:prSet/>
      <dgm:spPr/>
      <dgm:t>
        <a:bodyPr/>
        <a:lstStyle/>
        <a:p>
          <a:endParaRPr lang="en-US"/>
        </a:p>
      </dgm:t>
    </dgm:pt>
    <dgm:pt modelId="{91B96BDC-37E7-47B7-8BDC-E26167650C3A}" type="sibTrans" cxnId="{E22B4ADF-5DC6-43BE-98FB-3DADA3F82DA3}">
      <dgm:prSet/>
      <dgm:spPr/>
      <dgm:t>
        <a:bodyPr/>
        <a:lstStyle/>
        <a:p>
          <a:endParaRPr lang="en-US"/>
        </a:p>
      </dgm:t>
    </dgm:pt>
    <dgm:pt modelId="{41102D3E-3CD6-4D25-9DAB-8904E5DA574A}">
      <dgm:prSet custT="1"/>
      <dgm:spPr>
        <a:solidFill>
          <a:srgbClr val="00B0F0"/>
        </a:solidFill>
      </dgm:spPr>
      <dgm:t>
        <a:bodyPr vert="vert"/>
        <a:lstStyle/>
        <a:p>
          <a:r>
            <a:rPr lang="en-US" sz="700"/>
            <a:t>DOM L3 Validation</a:t>
          </a:r>
        </a:p>
      </dgm:t>
    </dgm:pt>
    <dgm:pt modelId="{4F5E55D7-98B3-4EA2-AD72-205C3B26F3FF}" type="parTrans" cxnId="{0A632783-6383-4ECB-8D2B-B0D96ED573FD}">
      <dgm:prSet/>
      <dgm:spPr/>
      <dgm:t>
        <a:bodyPr/>
        <a:lstStyle/>
        <a:p>
          <a:endParaRPr lang="en-US"/>
        </a:p>
      </dgm:t>
    </dgm:pt>
    <dgm:pt modelId="{C0D0F109-C980-40F3-A7EF-B6E196F07D6D}" type="sibTrans" cxnId="{0A632783-6383-4ECB-8D2B-B0D96ED573FD}">
      <dgm:prSet/>
      <dgm:spPr/>
      <dgm:t>
        <a:bodyPr/>
        <a:lstStyle/>
        <a:p>
          <a:endParaRPr lang="en-US"/>
        </a:p>
      </dgm:t>
    </dgm:pt>
    <dgm:pt modelId="{EA2853BC-CCAE-4602-8C2E-FDA8966FF6F8}">
      <dgm:prSet custT="1"/>
      <dgm:spPr>
        <a:solidFill>
          <a:srgbClr val="00B0F0"/>
        </a:solidFill>
      </dgm:spPr>
      <dgm:t>
        <a:bodyPr vert="vert"/>
        <a:lstStyle/>
        <a:p>
          <a:r>
            <a:rPr lang="en-US" sz="700"/>
            <a:t>DOM L3 XPath</a:t>
          </a:r>
        </a:p>
      </dgm:t>
    </dgm:pt>
    <dgm:pt modelId="{A3CA156D-1849-4E10-9205-72749DDE3791}" type="parTrans" cxnId="{A1D89ACB-5FAF-485E-B817-706EF0D133D7}">
      <dgm:prSet/>
      <dgm:spPr/>
      <dgm:t>
        <a:bodyPr/>
        <a:lstStyle/>
        <a:p>
          <a:endParaRPr lang="en-US"/>
        </a:p>
      </dgm:t>
    </dgm:pt>
    <dgm:pt modelId="{F57CAAED-8F33-41DB-85FD-FCD2807794D2}" type="sibTrans" cxnId="{A1D89ACB-5FAF-485E-B817-706EF0D133D7}">
      <dgm:prSet/>
      <dgm:spPr/>
      <dgm:t>
        <a:bodyPr/>
        <a:lstStyle/>
        <a:p>
          <a:endParaRPr lang="en-US"/>
        </a:p>
      </dgm:t>
    </dgm:pt>
    <dgm:pt modelId="{DD9489E3-89A0-4881-BC91-435FD3509360}">
      <dgm:prSet custT="1"/>
      <dgm:spPr>
        <a:solidFill>
          <a:srgbClr val="00B0F0"/>
        </a:solidFill>
      </dgm:spPr>
      <dgm:t>
        <a:bodyPr vert="vert"/>
        <a:lstStyle/>
        <a:p>
          <a:r>
            <a:rPr lang="en-US" sz="700" dirty="0"/>
            <a:t>DOM L3 Views and Formatting</a:t>
          </a:r>
        </a:p>
      </dgm:t>
    </dgm:pt>
    <dgm:pt modelId="{D10D7042-5001-467D-94A8-EB297722D902}" type="parTrans" cxnId="{794B798F-651E-4670-ABEB-8AD325751888}">
      <dgm:prSet/>
      <dgm:spPr/>
      <dgm:t>
        <a:bodyPr/>
        <a:lstStyle/>
        <a:p>
          <a:endParaRPr lang="en-US"/>
        </a:p>
      </dgm:t>
    </dgm:pt>
    <dgm:pt modelId="{0D4E1D85-37B2-40D7-9604-C47B47DEA1D3}" type="sibTrans" cxnId="{794B798F-651E-4670-ABEB-8AD325751888}">
      <dgm:prSet/>
      <dgm:spPr/>
      <dgm:t>
        <a:bodyPr/>
        <a:lstStyle/>
        <a:p>
          <a:endParaRPr lang="en-US"/>
        </a:p>
      </dgm:t>
    </dgm:pt>
    <dgm:pt modelId="{C115DB15-8993-44F2-B09A-AC78E5B17793}">
      <dgm:prSet custT="1"/>
      <dgm:spPr>
        <a:solidFill>
          <a:srgbClr val="00B0F0"/>
        </a:solidFill>
      </dgm:spPr>
      <dgm:t>
        <a:bodyPr vert="vert"/>
        <a:lstStyle/>
        <a:p>
          <a:r>
            <a:rPr lang="en-US" sz="700" dirty="0"/>
            <a:t>DOM L3 Abstract Schemas</a:t>
          </a:r>
        </a:p>
      </dgm:t>
    </dgm:pt>
    <dgm:pt modelId="{15E96EB4-7EF6-4FF7-87AD-45412902BBBB}" type="parTrans" cxnId="{F1BCDA3E-D10E-4484-83C9-40B5618F4F07}">
      <dgm:prSet/>
      <dgm:spPr/>
      <dgm:t>
        <a:bodyPr/>
        <a:lstStyle/>
        <a:p>
          <a:endParaRPr lang="en-US"/>
        </a:p>
      </dgm:t>
    </dgm:pt>
    <dgm:pt modelId="{30990D8B-68AD-4E3D-97CD-1C84F1EA8B4D}" type="sibTrans" cxnId="{F1BCDA3E-D10E-4484-83C9-40B5618F4F07}">
      <dgm:prSet/>
      <dgm:spPr/>
      <dgm:t>
        <a:bodyPr/>
        <a:lstStyle/>
        <a:p>
          <a:endParaRPr lang="en-US"/>
        </a:p>
      </dgm:t>
    </dgm:pt>
    <dgm:pt modelId="{CB67C5BD-2EC7-451A-845C-CECDCA14A61B}">
      <dgm:prSet custT="1"/>
      <dgm:spPr>
        <a:solidFill>
          <a:schemeClr val="accent6"/>
        </a:solidFill>
      </dgm:spPr>
      <dgm:t>
        <a:bodyPr vert="vert"/>
        <a:lstStyle/>
        <a:p>
          <a:r>
            <a:rPr lang="en-US" sz="900" dirty="0" err="1" smtClean="0"/>
            <a:t>Geolocation</a:t>
          </a:r>
          <a:endParaRPr lang="en-US" sz="900" dirty="0"/>
        </a:p>
      </dgm:t>
    </dgm:pt>
    <dgm:pt modelId="{B18D31B6-B12C-428A-A4EF-ADA5114145D7}" type="parTrans" cxnId="{8E640DBC-FC63-4E95-B701-E92B4637DE70}">
      <dgm:prSet/>
      <dgm:spPr/>
      <dgm:t>
        <a:bodyPr/>
        <a:lstStyle/>
        <a:p>
          <a:endParaRPr lang="en-US"/>
        </a:p>
      </dgm:t>
    </dgm:pt>
    <dgm:pt modelId="{0837E559-DEFF-4DA0-89FC-341E3D720593}" type="sibTrans" cxnId="{8E640DBC-FC63-4E95-B701-E92B4637DE70}">
      <dgm:prSet/>
      <dgm:spPr/>
      <dgm:t>
        <a:bodyPr/>
        <a:lstStyle/>
        <a:p>
          <a:endParaRPr lang="en-US"/>
        </a:p>
      </dgm:t>
    </dgm:pt>
    <dgm:pt modelId="{03EFEE35-ADD7-47D7-9A9F-16D5B9BDCBFB}">
      <dgm:prSet custT="1"/>
      <dgm:spPr>
        <a:solidFill>
          <a:srgbClr val="00B0F0"/>
        </a:solidFill>
      </dgm:spPr>
      <dgm:t>
        <a:bodyPr vert="vert"/>
        <a:lstStyle/>
        <a:p>
          <a:r>
            <a:rPr lang="en-US" sz="700"/>
            <a:t>Geolocation API</a:t>
          </a:r>
        </a:p>
      </dgm:t>
    </dgm:pt>
    <dgm:pt modelId="{0EA02642-6C6C-40FA-9247-708B3D185D65}" type="parTrans" cxnId="{61592D6E-980E-4D09-97E6-F68C2C84D980}">
      <dgm:prSet/>
      <dgm:spPr/>
      <dgm:t>
        <a:bodyPr/>
        <a:lstStyle/>
        <a:p>
          <a:endParaRPr lang="en-US"/>
        </a:p>
      </dgm:t>
    </dgm:pt>
    <dgm:pt modelId="{2659E7BE-224E-43FB-827E-6A3E5EC3B983}" type="sibTrans" cxnId="{61592D6E-980E-4D09-97E6-F68C2C84D980}">
      <dgm:prSet/>
      <dgm:spPr/>
      <dgm:t>
        <a:bodyPr/>
        <a:lstStyle/>
        <a:p>
          <a:endParaRPr lang="en-US"/>
        </a:p>
      </dgm:t>
    </dgm:pt>
    <dgm:pt modelId="{C013493E-98E2-4B2D-BEC3-9375FE3A3200}">
      <dgm:prSet custT="1"/>
      <dgm:spPr/>
      <dgm:t>
        <a:bodyPr vert="horz"/>
        <a:lstStyle/>
        <a:p>
          <a:r>
            <a:rPr lang="en-US" sz="1800" dirty="0" smtClean="0"/>
            <a:t>ECMA</a:t>
          </a:r>
          <a:endParaRPr lang="en-US" sz="2200" dirty="0"/>
        </a:p>
      </dgm:t>
    </dgm:pt>
    <dgm:pt modelId="{AEEF1A03-A151-431B-9584-1594D1460427}" type="parTrans" cxnId="{D41BC54D-E1AA-416B-802A-57C0BAC49084}">
      <dgm:prSet/>
      <dgm:spPr/>
      <dgm:t>
        <a:bodyPr/>
        <a:lstStyle/>
        <a:p>
          <a:endParaRPr lang="en-US"/>
        </a:p>
      </dgm:t>
    </dgm:pt>
    <dgm:pt modelId="{E3AA5145-B1F4-4C83-B947-79FFD2218C1C}" type="sibTrans" cxnId="{D41BC54D-E1AA-416B-802A-57C0BAC49084}">
      <dgm:prSet/>
      <dgm:spPr/>
      <dgm:t>
        <a:bodyPr/>
        <a:lstStyle/>
        <a:p>
          <a:endParaRPr lang="en-US"/>
        </a:p>
      </dgm:t>
    </dgm:pt>
    <dgm:pt modelId="{B79205C9-88CB-4CD3-AF54-F7DF0D10BABF}">
      <dgm:prSet custT="1"/>
      <dgm:spPr>
        <a:solidFill>
          <a:schemeClr val="accent6"/>
        </a:solidFill>
      </dgm:spPr>
      <dgm:t>
        <a:bodyPr vert="horz"/>
        <a:lstStyle/>
        <a:p>
          <a:r>
            <a:rPr lang="en-US" sz="1600" dirty="0" smtClean="0"/>
            <a:t>ECMA Script  262</a:t>
          </a:r>
          <a:endParaRPr lang="en-US" sz="1600" dirty="0"/>
        </a:p>
      </dgm:t>
    </dgm:pt>
    <dgm:pt modelId="{145AB2EC-246E-4C1A-8AD6-046BAED44136}" type="parTrans" cxnId="{D684E847-E7E3-439C-A917-04C9AE7A0CB5}">
      <dgm:prSet/>
      <dgm:spPr/>
      <dgm:t>
        <a:bodyPr/>
        <a:lstStyle/>
        <a:p>
          <a:endParaRPr lang="en-US"/>
        </a:p>
      </dgm:t>
    </dgm:pt>
    <dgm:pt modelId="{87FF257E-6B2E-45B0-A135-124D84179EDC}" type="sibTrans" cxnId="{D684E847-E7E3-439C-A917-04C9AE7A0CB5}">
      <dgm:prSet/>
      <dgm:spPr/>
      <dgm:t>
        <a:bodyPr/>
        <a:lstStyle/>
        <a:p>
          <a:endParaRPr lang="en-US"/>
        </a:p>
      </dgm:t>
    </dgm:pt>
    <dgm:pt modelId="{E5A5A145-DEAC-43AC-A692-E937AE7A41BE}">
      <dgm:prSet custT="1"/>
      <dgm:spPr>
        <a:solidFill>
          <a:srgbClr val="00B0F0"/>
        </a:solidFill>
      </dgm:spPr>
      <dgm:t>
        <a:bodyPr vert="vert"/>
        <a:lstStyle/>
        <a:p>
          <a:r>
            <a:rPr lang="en-US" sz="700" dirty="0" err="1"/>
            <a:t>ECMAScript</a:t>
          </a:r>
          <a:r>
            <a:rPr lang="en-US" sz="700" dirty="0"/>
            <a:t>  262</a:t>
          </a:r>
        </a:p>
      </dgm:t>
    </dgm:pt>
    <dgm:pt modelId="{3537E978-F6B9-47D3-B6F2-814A28DE770D}" type="parTrans" cxnId="{9B171D20-629E-46CF-88D6-500B3A40E674}">
      <dgm:prSet/>
      <dgm:spPr/>
      <dgm:t>
        <a:bodyPr/>
        <a:lstStyle/>
        <a:p>
          <a:endParaRPr lang="en-US"/>
        </a:p>
      </dgm:t>
    </dgm:pt>
    <dgm:pt modelId="{284B04FE-9E2C-42C1-8DDA-A29295B22AF1}" type="sibTrans" cxnId="{9B171D20-629E-46CF-88D6-500B3A40E674}">
      <dgm:prSet/>
      <dgm:spPr/>
      <dgm:t>
        <a:bodyPr/>
        <a:lstStyle/>
        <a:p>
          <a:endParaRPr lang="en-US"/>
        </a:p>
      </dgm:t>
    </dgm:pt>
    <dgm:pt modelId="{A740C59B-5275-452E-A17B-4F65422D4714}">
      <dgm:prSet custT="1"/>
      <dgm:spPr>
        <a:solidFill>
          <a:schemeClr val="accent6"/>
        </a:solidFill>
      </dgm:spPr>
      <dgm:t>
        <a:bodyPr vert="horz"/>
        <a:lstStyle/>
        <a:p>
          <a:r>
            <a:rPr lang="en-US" sz="1600" dirty="0" smtClean="0"/>
            <a:t>SVG</a:t>
          </a:r>
          <a:endParaRPr lang="en-US" sz="1600" dirty="0"/>
        </a:p>
      </dgm:t>
    </dgm:pt>
    <dgm:pt modelId="{1CF17F82-75EF-425A-A336-E3D2792FB06A}" type="parTrans" cxnId="{FF2176BC-B1AC-4C79-882B-1A6CC2337635}">
      <dgm:prSet/>
      <dgm:spPr/>
      <dgm:t>
        <a:bodyPr/>
        <a:lstStyle/>
        <a:p>
          <a:endParaRPr lang="en-US"/>
        </a:p>
      </dgm:t>
    </dgm:pt>
    <dgm:pt modelId="{5449309B-798A-4FEE-AC88-2C3BD8A1091D}" type="sibTrans" cxnId="{FF2176BC-B1AC-4C79-882B-1A6CC2337635}">
      <dgm:prSet/>
      <dgm:spPr/>
      <dgm:t>
        <a:bodyPr/>
        <a:lstStyle/>
        <a:p>
          <a:endParaRPr lang="en-US"/>
        </a:p>
      </dgm:t>
    </dgm:pt>
    <dgm:pt modelId="{094ABEE8-62AE-4F18-B59F-0D8D215874A1}">
      <dgm:prSet custT="1"/>
      <dgm:spPr>
        <a:solidFill>
          <a:srgbClr val="00B0F0"/>
        </a:solidFill>
      </dgm:spPr>
      <dgm:t>
        <a:bodyPr vert="vert"/>
        <a:lstStyle/>
        <a:p>
          <a:r>
            <a:rPr lang="en-US" sz="700" i="1" dirty="0"/>
            <a:t>Document Structure</a:t>
          </a:r>
        </a:p>
      </dgm:t>
    </dgm:pt>
    <dgm:pt modelId="{B60A5B72-0CB4-4690-AE07-A9FF107DB670}" type="parTrans" cxnId="{D5E0D10B-C153-4FFD-93C0-908F9E3015B3}">
      <dgm:prSet/>
      <dgm:spPr/>
      <dgm:t>
        <a:bodyPr/>
        <a:lstStyle/>
        <a:p>
          <a:endParaRPr lang="en-US"/>
        </a:p>
      </dgm:t>
    </dgm:pt>
    <dgm:pt modelId="{86C0260C-C338-43A9-B76C-569EFC8C3E75}" type="sibTrans" cxnId="{D5E0D10B-C153-4FFD-93C0-908F9E3015B3}">
      <dgm:prSet/>
      <dgm:spPr/>
      <dgm:t>
        <a:bodyPr/>
        <a:lstStyle/>
        <a:p>
          <a:endParaRPr lang="en-US"/>
        </a:p>
      </dgm:t>
    </dgm:pt>
    <dgm:pt modelId="{BD18610D-BA4A-4FE7-B028-B84EA2CC8145}">
      <dgm:prSet custT="1"/>
      <dgm:spPr>
        <a:solidFill>
          <a:srgbClr val="00B0F0"/>
        </a:solidFill>
      </dgm:spPr>
      <dgm:t>
        <a:bodyPr vert="vert"/>
        <a:lstStyle/>
        <a:p>
          <a:r>
            <a:rPr lang="en-US" sz="700" i="1" dirty="0"/>
            <a:t>Basic Shapes</a:t>
          </a:r>
        </a:p>
      </dgm:t>
    </dgm:pt>
    <dgm:pt modelId="{AA19B2BE-3DDD-4843-9A8C-F592BC4CAB63}" type="parTrans" cxnId="{13476B70-E13D-449D-B9C6-E2A404356F65}">
      <dgm:prSet/>
      <dgm:spPr/>
      <dgm:t>
        <a:bodyPr/>
        <a:lstStyle/>
        <a:p>
          <a:endParaRPr lang="en-US"/>
        </a:p>
      </dgm:t>
    </dgm:pt>
    <dgm:pt modelId="{4781CF56-87DD-43F8-B470-60654A67F141}" type="sibTrans" cxnId="{13476B70-E13D-449D-B9C6-E2A404356F65}">
      <dgm:prSet/>
      <dgm:spPr/>
      <dgm:t>
        <a:bodyPr/>
        <a:lstStyle/>
        <a:p>
          <a:endParaRPr lang="en-US"/>
        </a:p>
      </dgm:t>
    </dgm:pt>
    <dgm:pt modelId="{AF7838D4-6E63-4E0B-88DB-316A20E3CBE9}">
      <dgm:prSet custT="1"/>
      <dgm:spPr>
        <a:solidFill>
          <a:srgbClr val="00B0F0"/>
        </a:solidFill>
      </dgm:spPr>
      <dgm:t>
        <a:bodyPr vert="vert"/>
        <a:lstStyle/>
        <a:p>
          <a:r>
            <a:rPr lang="en-US" sz="700" i="1"/>
            <a:t>Paths</a:t>
          </a:r>
        </a:p>
      </dgm:t>
    </dgm:pt>
    <dgm:pt modelId="{32B4AA05-E52D-48BF-92E7-849C07005579}" type="parTrans" cxnId="{FFBF4D44-41E1-4C68-A9A6-5DF6B708ABF9}">
      <dgm:prSet/>
      <dgm:spPr/>
      <dgm:t>
        <a:bodyPr/>
        <a:lstStyle/>
        <a:p>
          <a:endParaRPr lang="en-US"/>
        </a:p>
      </dgm:t>
    </dgm:pt>
    <dgm:pt modelId="{A375B04A-1DD3-445E-BF78-F5AA8D6A9CB5}" type="sibTrans" cxnId="{FFBF4D44-41E1-4C68-A9A6-5DF6B708ABF9}">
      <dgm:prSet/>
      <dgm:spPr/>
      <dgm:t>
        <a:bodyPr/>
        <a:lstStyle/>
        <a:p>
          <a:endParaRPr lang="en-US"/>
        </a:p>
      </dgm:t>
    </dgm:pt>
    <dgm:pt modelId="{A5F004C2-7229-4D8C-BAB6-B3D054EC6D96}">
      <dgm:prSet custT="1"/>
      <dgm:spPr>
        <a:solidFill>
          <a:srgbClr val="00B0F0"/>
        </a:solidFill>
      </dgm:spPr>
      <dgm:t>
        <a:bodyPr vert="vert"/>
        <a:lstStyle/>
        <a:p>
          <a:r>
            <a:rPr lang="en-US" sz="700" i="1"/>
            <a:t>Text</a:t>
          </a:r>
        </a:p>
      </dgm:t>
    </dgm:pt>
    <dgm:pt modelId="{64451022-5EF8-4F50-8AC2-29FB6DF1CD61}" type="parTrans" cxnId="{61D49BDC-BF59-41D5-A18E-C5C0523DD414}">
      <dgm:prSet/>
      <dgm:spPr/>
      <dgm:t>
        <a:bodyPr/>
        <a:lstStyle/>
        <a:p>
          <a:endParaRPr lang="en-US"/>
        </a:p>
      </dgm:t>
    </dgm:pt>
    <dgm:pt modelId="{7ABB8367-0234-411D-965D-61CB437827BB}" type="sibTrans" cxnId="{61D49BDC-BF59-41D5-A18E-C5C0523DD414}">
      <dgm:prSet/>
      <dgm:spPr/>
      <dgm:t>
        <a:bodyPr/>
        <a:lstStyle/>
        <a:p>
          <a:endParaRPr lang="en-US"/>
        </a:p>
      </dgm:t>
    </dgm:pt>
    <dgm:pt modelId="{6E377333-AE95-4192-89FE-4CA0CB6B1E7A}">
      <dgm:prSet custT="1"/>
      <dgm:spPr>
        <a:solidFill>
          <a:srgbClr val="00B0F0"/>
        </a:solidFill>
      </dgm:spPr>
      <dgm:t>
        <a:bodyPr vert="vert"/>
        <a:lstStyle/>
        <a:p>
          <a:r>
            <a:rPr lang="en-US" sz="700" i="1"/>
            <a:t>Transforms</a:t>
          </a:r>
        </a:p>
      </dgm:t>
    </dgm:pt>
    <dgm:pt modelId="{DAC54928-E6D8-4B40-9F0C-3B12D0EFF709}" type="parTrans" cxnId="{28986CF1-6AE2-4531-849C-9FC89557776F}">
      <dgm:prSet/>
      <dgm:spPr/>
      <dgm:t>
        <a:bodyPr/>
        <a:lstStyle/>
        <a:p>
          <a:endParaRPr lang="en-US"/>
        </a:p>
      </dgm:t>
    </dgm:pt>
    <dgm:pt modelId="{BFE7C7C5-496F-4D10-A36A-DEEE988E00BA}" type="sibTrans" cxnId="{28986CF1-6AE2-4531-849C-9FC89557776F}">
      <dgm:prSet/>
      <dgm:spPr/>
      <dgm:t>
        <a:bodyPr/>
        <a:lstStyle/>
        <a:p>
          <a:endParaRPr lang="en-US"/>
        </a:p>
      </dgm:t>
    </dgm:pt>
    <dgm:pt modelId="{EEFFF4F2-ED76-4B46-8B07-1EF5D5831B8F}">
      <dgm:prSet custT="1"/>
      <dgm:spPr>
        <a:solidFill>
          <a:srgbClr val="00B0F0"/>
        </a:solidFill>
      </dgm:spPr>
      <dgm:t>
        <a:bodyPr vert="vert"/>
        <a:lstStyle/>
        <a:p>
          <a:r>
            <a:rPr lang="en-US" sz="700" i="1" dirty="0"/>
            <a:t>Painting, Filling, Color</a:t>
          </a:r>
        </a:p>
      </dgm:t>
    </dgm:pt>
    <dgm:pt modelId="{CFBD8608-E7CB-44DB-AC83-61E18A59E7BF}" type="parTrans" cxnId="{20AF2B33-8A2F-485E-AB28-1A6EB99213A6}">
      <dgm:prSet/>
      <dgm:spPr/>
      <dgm:t>
        <a:bodyPr/>
        <a:lstStyle/>
        <a:p>
          <a:endParaRPr lang="en-US"/>
        </a:p>
      </dgm:t>
    </dgm:pt>
    <dgm:pt modelId="{2D1C3643-D47C-4B19-BD90-8263442DE2A1}" type="sibTrans" cxnId="{20AF2B33-8A2F-485E-AB28-1A6EB99213A6}">
      <dgm:prSet/>
      <dgm:spPr/>
      <dgm:t>
        <a:bodyPr/>
        <a:lstStyle/>
        <a:p>
          <a:endParaRPr lang="en-US"/>
        </a:p>
      </dgm:t>
    </dgm:pt>
    <dgm:pt modelId="{1D9FC025-1E6C-4222-BC64-9179F0AA2EB7}">
      <dgm:prSet custT="1"/>
      <dgm:spPr>
        <a:solidFill>
          <a:srgbClr val="00B0F0"/>
        </a:solidFill>
      </dgm:spPr>
      <dgm:t>
        <a:bodyPr vert="vert"/>
        <a:lstStyle/>
        <a:p>
          <a:r>
            <a:rPr lang="en-US" sz="700" i="1"/>
            <a:t>Scripting</a:t>
          </a:r>
        </a:p>
      </dgm:t>
    </dgm:pt>
    <dgm:pt modelId="{A5A22273-F5B5-4C4A-BDD0-EA99C2627227}" type="parTrans" cxnId="{B0B59BF7-73DF-43F0-9CB6-9B67FC09EFF0}">
      <dgm:prSet/>
      <dgm:spPr/>
      <dgm:t>
        <a:bodyPr/>
        <a:lstStyle/>
        <a:p>
          <a:endParaRPr lang="en-US"/>
        </a:p>
      </dgm:t>
    </dgm:pt>
    <dgm:pt modelId="{49458B59-4923-4356-8FB5-49F8027493E6}" type="sibTrans" cxnId="{B0B59BF7-73DF-43F0-9CB6-9B67FC09EFF0}">
      <dgm:prSet/>
      <dgm:spPr/>
      <dgm:t>
        <a:bodyPr/>
        <a:lstStyle/>
        <a:p>
          <a:endParaRPr lang="en-US"/>
        </a:p>
      </dgm:t>
    </dgm:pt>
    <dgm:pt modelId="{CD8A2855-5601-45A0-9B93-C7919D7BFCBD}">
      <dgm:prSet custT="1"/>
      <dgm:spPr>
        <a:solidFill>
          <a:srgbClr val="00B0F0"/>
        </a:solidFill>
      </dgm:spPr>
      <dgm:t>
        <a:bodyPr vert="vert"/>
        <a:lstStyle/>
        <a:p>
          <a:r>
            <a:rPr lang="en-US" sz="700" i="1"/>
            <a:t>Styling</a:t>
          </a:r>
        </a:p>
      </dgm:t>
    </dgm:pt>
    <dgm:pt modelId="{BBA13B4C-93A5-4C6A-B10F-34EF96276148}" type="parTrans" cxnId="{349B6D0B-232A-49A8-8927-7C971146D346}">
      <dgm:prSet/>
      <dgm:spPr/>
      <dgm:t>
        <a:bodyPr/>
        <a:lstStyle/>
        <a:p>
          <a:endParaRPr lang="en-US"/>
        </a:p>
      </dgm:t>
    </dgm:pt>
    <dgm:pt modelId="{CEE9F556-B17A-40A6-88A9-DA26867930B9}" type="sibTrans" cxnId="{349B6D0B-232A-49A8-8927-7C971146D346}">
      <dgm:prSet/>
      <dgm:spPr/>
      <dgm:t>
        <a:bodyPr/>
        <a:lstStyle/>
        <a:p>
          <a:endParaRPr lang="en-US"/>
        </a:p>
      </dgm:t>
    </dgm:pt>
    <dgm:pt modelId="{F1804E83-ABB7-4EDA-AAD0-21C5EECE2FD5}">
      <dgm:prSet custT="1"/>
      <dgm:spPr>
        <a:solidFill>
          <a:srgbClr val="00B0F0"/>
        </a:solidFill>
      </dgm:spPr>
      <dgm:t>
        <a:bodyPr vert="vert"/>
        <a:lstStyle/>
        <a:p>
          <a:r>
            <a:rPr lang="en-US" sz="700" i="1"/>
            <a:t>Gradients and Patterns</a:t>
          </a:r>
        </a:p>
      </dgm:t>
    </dgm:pt>
    <dgm:pt modelId="{D946D0BF-71C3-4B24-87D9-9930F249EE0D}" type="parTrans" cxnId="{2849BA4C-FBE2-44F3-87B4-98C626653D28}">
      <dgm:prSet/>
      <dgm:spPr/>
      <dgm:t>
        <a:bodyPr/>
        <a:lstStyle/>
        <a:p>
          <a:endParaRPr lang="en-US"/>
        </a:p>
      </dgm:t>
    </dgm:pt>
    <dgm:pt modelId="{9E559515-5831-4857-AA04-86866A5CB42B}" type="sibTrans" cxnId="{2849BA4C-FBE2-44F3-87B4-98C626653D28}">
      <dgm:prSet/>
      <dgm:spPr/>
      <dgm:t>
        <a:bodyPr/>
        <a:lstStyle/>
        <a:p>
          <a:endParaRPr lang="en-US"/>
        </a:p>
      </dgm:t>
    </dgm:pt>
    <dgm:pt modelId="{E2E3B856-9B90-4BA8-832C-D568F5F9988D}">
      <dgm:prSet custT="1"/>
      <dgm:spPr>
        <a:solidFill>
          <a:srgbClr val="00B0F0"/>
        </a:solidFill>
      </dgm:spPr>
      <dgm:t>
        <a:bodyPr vert="vert"/>
        <a:lstStyle/>
        <a:p>
          <a:r>
            <a:rPr lang="en-US" sz="700" i="1"/>
            <a:t>SMIL</a:t>
          </a:r>
        </a:p>
      </dgm:t>
    </dgm:pt>
    <dgm:pt modelId="{ECA78497-1D2D-47BF-AA9D-53FAA2D3BE5B}" type="parTrans" cxnId="{50FDA2F7-4EC5-45B8-BC43-D89D17C928F1}">
      <dgm:prSet/>
      <dgm:spPr/>
      <dgm:t>
        <a:bodyPr/>
        <a:lstStyle/>
        <a:p>
          <a:endParaRPr lang="en-US"/>
        </a:p>
      </dgm:t>
    </dgm:pt>
    <dgm:pt modelId="{67BCF5D8-3ABA-4C1B-A4A4-840BDF896745}" type="sibTrans" cxnId="{50FDA2F7-4EC5-45B8-BC43-D89D17C928F1}">
      <dgm:prSet/>
      <dgm:spPr/>
      <dgm:t>
        <a:bodyPr/>
        <a:lstStyle/>
        <a:p>
          <a:endParaRPr lang="en-US"/>
        </a:p>
      </dgm:t>
    </dgm:pt>
    <dgm:pt modelId="{DBDB9F9F-E999-458A-81B3-88BF59A6B2CD}">
      <dgm:prSet custT="1"/>
      <dgm:spPr>
        <a:solidFill>
          <a:srgbClr val="00B0F0"/>
        </a:solidFill>
      </dgm:spPr>
      <dgm:t>
        <a:bodyPr vert="vert"/>
        <a:lstStyle/>
        <a:p>
          <a:r>
            <a:rPr lang="en-US" sz="700" i="1"/>
            <a:t>Fonts</a:t>
          </a:r>
        </a:p>
      </dgm:t>
    </dgm:pt>
    <dgm:pt modelId="{7CFA7588-566E-4387-8A0A-85DD0E99C0DE}" type="parTrans" cxnId="{588497C8-C27F-4584-93D6-EF27C65AA235}">
      <dgm:prSet/>
      <dgm:spPr/>
      <dgm:t>
        <a:bodyPr/>
        <a:lstStyle/>
        <a:p>
          <a:endParaRPr lang="en-US"/>
        </a:p>
      </dgm:t>
    </dgm:pt>
    <dgm:pt modelId="{9310C790-811D-4493-B8E1-C7968EB4DC63}" type="sibTrans" cxnId="{588497C8-C27F-4584-93D6-EF27C65AA235}">
      <dgm:prSet/>
      <dgm:spPr/>
      <dgm:t>
        <a:bodyPr/>
        <a:lstStyle/>
        <a:p>
          <a:endParaRPr lang="en-US"/>
        </a:p>
      </dgm:t>
    </dgm:pt>
    <dgm:pt modelId="{BD7C8486-9791-42A7-9BE2-94C8AA5C5D8F}">
      <dgm:prSet custT="1"/>
      <dgm:spPr>
        <a:solidFill>
          <a:srgbClr val="00B0F0"/>
        </a:solidFill>
      </dgm:spPr>
      <dgm:t>
        <a:bodyPr vert="vert"/>
        <a:lstStyle/>
        <a:p>
          <a:r>
            <a:rPr lang="en-US" sz="700" i="1" dirty="0"/>
            <a:t>Filters</a:t>
          </a:r>
        </a:p>
      </dgm:t>
    </dgm:pt>
    <dgm:pt modelId="{1FCF391C-AE56-4C19-81DA-049B1D21BE7E}" type="parTrans" cxnId="{56CB52F2-8220-4E9F-AD33-DD30D4DAB613}">
      <dgm:prSet/>
      <dgm:spPr/>
      <dgm:t>
        <a:bodyPr/>
        <a:lstStyle/>
        <a:p>
          <a:endParaRPr lang="en-US"/>
        </a:p>
      </dgm:t>
    </dgm:pt>
    <dgm:pt modelId="{60A9041E-E6A1-4A53-9429-25F784793F4F}" type="sibTrans" cxnId="{56CB52F2-8220-4E9F-AD33-DD30D4DAB613}">
      <dgm:prSet/>
      <dgm:spPr/>
      <dgm:t>
        <a:bodyPr/>
        <a:lstStyle/>
        <a:p>
          <a:endParaRPr lang="en-US"/>
        </a:p>
      </dgm:t>
    </dgm:pt>
    <dgm:pt modelId="{29D0C570-B90B-434C-BC13-8F2DA69FFE97}">
      <dgm:prSet custT="1"/>
      <dgm:spPr>
        <a:solidFill>
          <a:srgbClr val="00B0F0"/>
        </a:solidFill>
      </dgm:spPr>
      <dgm:t>
        <a:bodyPr vert="vert"/>
        <a:lstStyle/>
        <a:p>
          <a:r>
            <a:rPr lang="en-US" sz="700" dirty="0" smtClean="0"/>
            <a:t>Text alternatives</a:t>
          </a:r>
          <a:endParaRPr lang="en-US" sz="700" dirty="0"/>
        </a:p>
      </dgm:t>
    </dgm:pt>
    <dgm:pt modelId="{7354B081-B85D-4407-B0E2-6F459FE039A5}" type="parTrans" cxnId="{97C46255-2DBB-41CE-A37A-9471EDDD99AC}">
      <dgm:prSet/>
      <dgm:spPr/>
      <dgm:t>
        <a:bodyPr/>
        <a:lstStyle/>
        <a:p>
          <a:endParaRPr lang="en-US"/>
        </a:p>
      </dgm:t>
    </dgm:pt>
    <dgm:pt modelId="{3E563001-E960-422A-9243-6A4F0932EF15}" type="sibTrans" cxnId="{97C46255-2DBB-41CE-A37A-9471EDDD99AC}">
      <dgm:prSet/>
      <dgm:spPr/>
      <dgm:t>
        <a:bodyPr/>
        <a:lstStyle/>
        <a:p>
          <a:endParaRPr lang="en-US"/>
        </a:p>
      </dgm:t>
    </dgm:pt>
    <dgm:pt modelId="{5D638F10-CB4F-46DF-B3D3-1696F0B7D3D2}" type="pres">
      <dgm:prSet presAssocID="{70803910-308B-4499-940E-7A989F55B242}" presName="Name0" presStyleCnt="0">
        <dgm:presLayoutVars>
          <dgm:chPref val="1"/>
          <dgm:dir/>
          <dgm:animOne val="branch"/>
          <dgm:animLvl val="lvl"/>
          <dgm:resizeHandles/>
        </dgm:presLayoutVars>
      </dgm:prSet>
      <dgm:spPr/>
      <dgm:t>
        <a:bodyPr/>
        <a:lstStyle/>
        <a:p>
          <a:endParaRPr lang="en-US"/>
        </a:p>
      </dgm:t>
    </dgm:pt>
    <dgm:pt modelId="{14A1CBB3-0E6D-4C2F-AE07-9D9747775084}" type="pres">
      <dgm:prSet presAssocID="{CB962011-A01D-4831-BDE8-98CDA5AAEF0D}" presName="vertOne" presStyleCnt="0"/>
      <dgm:spPr/>
      <dgm:t>
        <a:bodyPr/>
        <a:lstStyle/>
        <a:p>
          <a:endParaRPr lang="en-US"/>
        </a:p>
      </dgm:t>
    </dgm:pt>
    <dgm:pt modelId="{6A0B5389-43C3-4675-BE54-52D2CCE3D5E5}" type="pres">
      <dgm:prSet presAssocID="{CB962011-A01D-4831-BDE8-98CDA5AAEF0D}" presName="txOne" presStyleLbl="node0" presStyleIdx="0" presStyleCnt="2">
        <dgm:presLayoutVars>
          <dgm:chPref val="3"/>
        </dgm:presLayoutVars>
      </dgm:prSet>
      <dgm:spPr/>
      <dgm:t>
        <a:bodyPr/>
        <a:lstStyle/>
        <a:p>
          <a:endParaRPr lang="en-US"/>
        </a:p>
      </dgm:t>
    </dgm:pt>
    <dgm:pt modelId="{8A4F9686-CA36-4066-91F4-C9B2D283A909}" type="pres">
      <dgm:prSet presAssocID="{CB962011-A01D-4831-BDE8-98CDA5AAEF0D}" presName="parTransOne" presStyleCnt="0"/>
      <dgm:spPr/>
      <dgm:t>
        <a:bodyPr/>
        <a:lstStyle/>
        <a:p>
          <a:endParaRPr lang="en-US"/>
        </a:p>
      </dgm:t>
    </dgm:pt>
    <dgm:pt modelId="{458CB0AF-613D-4120-A15A-324830455AF9}" type="pres">
      <dgm:prSet presAssocID="{CB962011-A01D-4831-BDE8-98CDA5AAEF0D}" presName="horzOne" presStyleCnt="0"/>
      <dgm:spPr/>
      <dgm:t>
        <a:bodyPr/>
        <a:lstStyle/>
        <a:p>
          <a:endParaRPr lang="en-US"/>
        </a:p>
      </dgm:t>
    </dgm:pt>
    <dgm:pt modelId="{C7B0B6D7-3EB7-4537-ACBB-9893EF2116BE}" type="pres">
      <dgm:prSet presAssocID="{F302CB54-ADC2-433E-890C-78FCF794313A}" presName="vertTwo" presStyleCnt="0"/>
      <dgm:spPr/>
      <dgm:t>
        <a:bodyPr/>
        <a:lstStyle/>
        <a:p>
          <a:endParaRPr lang="en-US"/>
        </a:p>
      </dgm:t>
    </dgm:pt>
    <dgm:pt modelId="{7525039D-75EC-4B94-990A-03D130D61B9F}" type="pres">
      <dgm:prSet presAssocID="{F302CB54-ADC2-433E-890C-78FCF794313A}" presName="txTwo" presStyleLbl="node2" presStyleIdx="0" presStyleCnt="6">
        <dgm:presLayoutVars>
          <dgm:chPref val="3"/>
        </dgm:presLayoutVars>
      </dgm:prSet>
      <dgm:spPr/>
      <dgm:t>
        <a:bodyPr/>
        <a:lstStyle/>
        <a:p>
          <a:endParaRPr lang="en-US"/>
        </a:p>
      </dgm:t>
    </dgm:pt>
    <dgm:pt modelId="{00672D72-87C6-4D86-8A2D-C3F11D1C299D}" type="pres">
      <dgm:prSet presAssocID="{F302CB54-ADC2-433E-890C-78FCF794313A}" presName="parTransTwo" presStyleCnt="0"/>
      <dgm:spPr/>
      <dgm:t>
        <a:bodyPr/>
        <a:lstStyle/>
        <a:p>
          <a:endParaRPr lang="en-US"/>
        </a:p>
      </dgm:t>
    </dgm:pt>
    <dgm:pt modelId="{B7ED7CF1-2A10-4F2B-A297-1257F9AFD3AB}" type="pres">
      <dgm:prSet presAssocID="{F302CB54-ADC2-433E-890C-78FCF794313A}" presName="horzTwo" presStyleCnt="0"/>
      <dgm:spPr/>
      <dgm:t>
        <a:bodyPr/>
        <a:lstStyle/>
        <a:p>
          <a:endParaRPr lang="en-US"/>
        </a:p>
      </dgm:t>
    </dgm:pt>
    <dgm:pt modelId="{B712097C-BCA1-4EEE-BC53-E81FD2DD1566}" type="pres">
      <dgm:prSet presAssocID="{FBB096D8-601A-4F3F-A603-A4BEA97AD825}" presName="vertThree" presStyleCnt="0"/>
      <dgm:spPr/>
      <dgm:t>
        <a:bodyPr/>
        <a:lstStyle/>
        <a:p>
          <a:endParaRPr lang="en-US"/>
        </a:p>
      </dgm:t>
    </dgm:pt>
    <dgm:pt modelId="{ED9D7A6D-27F6-4122-BB52-8FF977A60715}" type="pres">
      <dgm:prSet presAssocID="{FBB096D8-601A-4F3F-A603-A4BEA97AD825}" presName="txThree" presStyleLbl="node3" presStyleIdx="0" presStyleCnt="82">
        <dgm:presLayoutVars>
          <dgm:chPref val="3"/>
        </dgm:presLayoutVars>
      </dgm:prSet>
      <dgm:spPr/>
      <dgm:t>
        <a:bodyPr/>
        <a:lstStyle/>
        <a:p>
          <a:endParaRPr lang="en-US"/>
        </a:p>
      </dgm:t>
    </dgm:pt>
    <dgm:pt modelId="{B0DB43A2-D745-4196-89C5-B82A02AD2DC7}" type="pres">
      <dgm:prSet presAssocID="{FBB096D8-601A-4F3F-A603-A4BEA97AD825}" presName="horzThree" presStyleCnt="0"/>
      <dgm:spPr/>
      <dgm:t>
        <a:bodyPr/>
        <a:lstStyle/>
        <a:p>
          <a:endParaRPr lang="en-US"/>
        </a:p>
      </dgm:t>
    </dgm:pt>
    <dgm:pt modelId="{96B8ACAE-09DB-4420-8D02-E68418517C47}" type="pres">
      <dgm:prSet presAssocID="{7DCAE619-7BE5-415A-B877-3AF49DA1A670}" presName="sibSpaceThree" presStyleCnt="0"/>
      <dgm:spPr/>
      <dgm:t>
        <a:bodyPr/>
        <a:lstStyle/>
        <a:p>
          <a:endParaRPr lang="en-US"/>
        </a:p>
      </dgm:t>
    </dgm:pt>
    <dgm:pt modelId="{C488E2EE-8DD7-41A3-A30B-63FE22688276}" type="pres">
      <dgm:prSet presAssocID="{824F47FA-C059-45CA-8100-E9A9E798682A}" presName="vertThree" presStyleCnt="0"/>
      <dgm:spPr/>
      <dgm:t>
        <a:bodyPr/>
        <a:lstStyle/>
        <a:p>
          <a:endParaRPr lang="en-US"/>
        </a:p>
      </dgm:t>
    </dgm:pt>
    <dgm:pt modelId="{956AF648-3F93-41DF-8180-2B82526844F8}" type="pres">
      <dgm:prSet presAssocID="{824F47FA-C059-45CA-8100-E9A9E798682A}" presName="txThree" presStyleLbl="node3" presStyleIdx="1" presStyleCnt="82">
        <dgm:presLayoutVars>
          <dgm:chPref val="3"/>
        </dgm:presLayoutVars>
      </dgm:prSet>
      <dgm:spPr/>
      <dgm:t>
        <a:bodyPr/>
        <a:lstStyle/>
        <a:p>
          <a:endParaRPr lang="en-US"/>
        </a:p>
      </dgm:t>
    </dgm:pt>
    <dgm:pt modelId="{D708FDEB-4389-441C-8ADD-001E7776BD83}" type="pres">
      <dgm:prSet presAssocID="{824F47FA-C059-45CA-8100-E9A9E798682A}" presName="horzThree" presStyleCnt="0"/>
      <dgm:spPr/>
      <dgm:t>
        <a:bodyPr/>
        <a:lstStyle/>
        <a:p>
          <a:endParaRPr lang="en-US"/>
        </a:p>
      </dgm:t>
    </dgm:pt>
    <dgm:pt modelId="{FD90CC95-36D8-453B-ACAF-4DE62C53E471}" type="pres">
      <dgm:prSet presAssocID="{2D658AAE-B6B8-4B44-B046-75EFFA7E83D0}" presName="sibSpaceThree" presStyleCnt="0"/>
      <dgm:spPr/>
      <dgm:t>
        <a:bodyPr/>
        <a:lstStyle/>
        <a:p>
          <a:endParaRPr lang="en-US"/>
        </a:p>
      </dgm:t>
    </dgm:pt>
    <dgm:pt modelId="{4AFA6914-BEAF-472E-9247-0D5F397AFF4A}" type="pres">
      <dgm:prSet presAssocID="{B74E292A-CC26-4C91-82A9-1F0A90EF2088}" presName="vertThree" presStyleCnt="0"/>
      <dgm:spPr/>
      <dgm:t>
        <a:bodyPr/>
        <a:lstStyle/>
        <a:p>
          <a:endParaRPr lang="en-US"/>
        </a:p>
      </dgm:t>
    </dgm:pt>
    <dgm:pt modelId="{CB40655B-3A78-446B-81DC-752E71EBF0AD}" type="pres">
      <dgm:prSet presAssocID="{B74E292A-CC26-4C91-82A9-1F0A90EF2088}" presName="txThree" presStyleLbl="node3" presStyleIdx="2" presStyleCnt="82">
        <dgm:presLayoutVars>
          <dgm:chPref val="3"/>
        </dgm:presLayoutVars>
      </dgm:prSet>
      <dgm:spPr/>
      <dgm:t>
        <a:bodyPr/>
        <a:lstStyle/>
        <a:p>
          <a:endParaRPr lang="en-US"/>
        </a:p>
      </dgm:t>
    </dgm:pt>
    <dgm:pt modelId="{593D83F1-8806-47D0-8431-72EDB4053AFC}" type="pres">
      <dgm:prSet presAssocID="{B74E292A-CC26-4C91-82A9-1F0A90EF2088}" presName="horzThree" presStyleCnt="0"/>
      <dgm:spPr/>
      <dgm:t>
        <a:bodyPr/>
        <a:lstStyle/>
        <a:p>
          <a:endParaRPr lang="en-US"/>
        </a:p>
      </dgm:t>
    </dgm:pt>
    <dgm:pt modelId="{ABBF4591-3B50-4BCE-9E12-EAE8B89787C8}" type="pres">
      <dgm:prSet presAssocID="{B5FB46DC-CAF2-46FF-BD4B-87F0390BE185}" presName="sibSpaceThree" presStyleCnt="0"/>
      <dgm:spPr/>
      <dgm:t>
        <a:bodyPr/>
        <a:lstStyle/>
        <a:p>
          <a:endParaRPr lang="en-US"/>
        </a:p>
      </dgm:t>
    </dgm:pt>
    <dgm:pt modelId="{97A0E9DC-54D1-4B4E-AC25-2B57F5533B1B}" type="pres">
      <dgm:prSet presAssocID="{8C3D93C8-DB72-48D0-8097-8974E9CC3FE0}" presName="vertThree" presStyleCnt="0"/>
      <dgm:spPr/>
      <dgm:t>
        <a:bodyPr/>
        <a:lstStyle/>
        <a:p>
          <a:endParaRPr lang="en-US"/>
        </a:p>
      </dgm:t>
    </dgm:pt>
    <dgm:pt modelId="{8835036C-3951-418C-AD84-34BFCDDB87E1}" type="pres">
      <dgm:prSet presAssocID="{8C3D93C8-DB72-48D0-8097-8974E9CC3FE0}" presName="txThree" presStyleLbl="node3" presStyleIdx="3" presStyleCnt="82">
        <dgm:presLayoutVars>
          <dgm:chPref val="3"/>
        </dgm:presLayoutVars>
      </dgm:prSet>
      <dgm:spPr/>
      <dgm:t>
        <a:bodyPr/>
        <a:lstStyle/>
        <a:p>
          <a:endParaRPr lang="en-US"/>
        </a:p>
      </dgm:t>
    </dgm:pt>
    <dgm:pt modelId="{FB932836-EF28-48ED-9BD4-ACBA5FF54105}" type="pres">
      <dgm:prSet presAssocID="{8C3D93C8-DB72-48D0-8097-8974E9CC3FE0}" presName="horzThree" presStyleCnt="0"/>
      <dgm:spPr/>
      <dgm:t>
        <a:bodyPr/>
        <a:lstStyle/>
        <a:p>
          <a:endParaRPr lang="en-US"/>
        </a:p>
      </dgm:t>
    </dgm:pt>
    <dgm:pt modelId="{63747EFC-7CEB-44C2-8BE8-301D9671BD1B}" type="pres">
      <dgm:prSet presAssocID="{C0ECD273-58E7-4014-B0FB-BAF6CBD7DAFF}" presName="sibSpaceThree" presStyleCnt="0"/>
      <dgm:spPr/>
      <dgm:t>
        <a:bodyPr/>
        <a:lstStyle/>
        <a:p>
          <a:endParaRPr lang="en-US"/>
        </a:p>
      </dgm:t>
    </dgm:pt>
    <dgm:pt modelId="{3A5D58EC-738D-451B-823D-9C6EC7BC1465}" type="pres">
      <dgm:prSet presAssocID="{A1B47FDA-48EB-460E-9EA9-C1FFC7F087F8}" presName="vertThree" presStyleCnt="0"/>
      <dgm:spPr/>
      <dgm:t>
        <a:bodyPr/>
        <a:lstStyle/>
        <a:p>
          <a:endParaRPr lang="en-US"/>
        </a:p>
      </dgm:t>
    </dgm:pt>
    <dgm:pt modelId="{0484FEF3-80BB-466E-AB48-804D8214DFD7}" type="pres">
      <dgm:prSet presAssocID="{A1B47FDA-48EB-460E-9EA9-C1FFC7F087F8}" presName="txThree" presStyleLbl="node3" presStyleIdx="4" presStyleCnt="82">
        <dgm:presLayoutVars>
          <dgm:chPref val="3"/>
        </dgm:presLayoutVars>
      </dgm:prSet>
      <dgm:spPr/>
      <dgm:t>
        <a:bodyPr/>
        <a:lstStyle/>
        <a:p>
          <a:endParaRPr lang="en-US"/>
        </a:p>
      </dgm:t>
    </dgm:pt>
    <dgm:pt modelId="{944FD105-09A8-4AF4-9955-1AA6A5E1B275}" type="pres">
      <dgm:prSet presAssocID="{A1B47FDA-48EB-460E-9EA9-C1FFC7F087F8}" presName="horzThree" presStyleCnt="0"/>
      <dgm:spPr/>
      <dgm:t>
        <a:bodyPr/>
        <a:lstStyle/>
        <a:p>
          <a:endParaRPr lang="en-US"/>
        </a:p>
      </dgm:t>
    </dgm:pt>
    <dgm:pt modelId="{418AB826-7607-47BC-9E2D-F63150DDBF66}" type="pres">
      <dgm:prSet presAssocID="{DA99068B-5E45-410D-8068-7E9AE037168A}" presName="sibSpaceThree" presStyleCnt="0"/>
      <dgm:spPr/>
      <dgm:t>
        <a:bodyPr/>
        <a:lstStyle/>
        <a:p>
          <a:endParaRPr lang="en-US"/>
        </a:p>
      </dgm:t>
    </dgm:pt>
    <dgm:pt modelId="{D60BEC41-EEA4-48A4-84B1-C2A74CF2BDD0}" type="pres">
      <dgm:prSet presAssocID="{46B86AE4-E6A9-472A-80F2-86F7350348BA}" presName="vertThree" presStyleCnt="0"/>
      <dgm:spPr/>
      <dgm:t>
        <a:bodyPr/>
        <a:lstStyle/>
        <a:p>
          <a:endParaRPr lang="en-US"/>
        </a:p>
      </dgm:t>
    </dgm:pt>
    <dgm:pt modelId="{55108962-F779-40E9-A22C-763D4069C424}" type="pres">
      <dgm:prSet presAssocID="{46B86AE4-E6A9-472A-80F2-86F7350348BA}" presName="txThree" presStyleLbl="node3" presStyleIdx="5" presStyleCnt="82">
        <dgm:presLayoutVars>
          <dgm:chPref val="3"/>
        </dgm:presLayoutVars>
      </dgm:prSet>
      <dgm:spPr/>
      <dgm:t>
        <a:bodyPr/>
        <a:lstStyle/>
        <a:p>
          <a:endParaRPr lang="en-US"/>
        </a:p>
      </dgm:t>
    </dgm:pt>
    <dgm:pt modelId="{38BE3D27-318A-4509-9C42-B28870D65C94}" type="pres">
      <dgm:prSet presAssocID="{46B86AE4-E6A9-472A-80F2-86F7350348BA}" presName="horzThree" presStyleCnt="0"/>
      <dgm:spPr/>
      <dgm:t>
        <a:bodyPr/>
        <a:lstStyle/>
        <a:p>
          <a:endParaRPr lang="en-US"/>
        </a:p>
      </dgm:t>
    </dgm:pt>
    <dgm:pt modelId="{F28923DC-9B59-4D83-B3CC-5AFE3D8078E0}" type="pres">
      <dgm:prSet presAssocID="{76A5C397-ED9C-4D02-AD9A-D1ED8892AA6F}" presName="sibSpaceThree" presStyleCnt="0"/>
      <dgm:spPr/>
      <dgm:t>
        <a:bodyPr/>
        <a:lstStyle/>
        <a:p>
          <a:endParaRPr lang="en-US"/>
        </a:p>
      </dgm:t>
    </dgm:pt>
    <dgm:pt modelId="{2E574427-1355-4247-8E71-11217FC262F3}" type="pres">
      <dgm:prSet presAssocID="{23CF3FEC-A201-4FD8-8C0C-AA87DA5BBFCC}" presName="vertThree" presStyleCnt="0"/>
      <dgm:spPr/>
      <dgm:t>
        <a:bodyPr/>
        <a:lstStyle/>
        <a:p>
          <a:endParaRPr lang="en-US"/>
        </a:p>
      </dgm:t>
    </dgm:pt>
    <dgm:pt modelId="{CF04E266-3C1F-4F0F-8ECB-91CBFF2A270A}" type="pres">
      <dgm:prSet presAssocID="{23CF3FEC-A201-4FD8-8C0C-AA87DA5BBFCC}" presName="txThree" presStyleLbl="node3" presStyleIdx="6" presStyleCnt="82">
        <dgm:presLayoutVars>
          <dgm:chPref val="3"/>
        </dgm:presLayoutVars>
      </dgm:prSet>
      <dgm:spPr/>
      <dgm:t>
        <a:bodyPr/>
        <a:lstStyle/>
        <a:p>
          <a:endParaRPr lang="en-US"/>
        </a:p>
      </dgm:t>
    </dgm:pt>
    <dgm:pt modelId="{FCEE33CF-0411-42C8-B02D-D627CEE491E3}" type="pres">
      <dgm:prSet presAssocID="{23CF3FEC-A201-4FD8-8C0C-AA87DA5BBFCC}" presName="horzThree" presStyleCnt="0"/>
      <dgm:spPr/>
      <dgm:t>
        <a:bodyPr/>
        <a:lstStyle/>
        <a:p>
          <a:endParaRPr lang="en-US"/>
        </a:p>
      </dgm:t>
    </dgm:pt>
    <dgm:pt modelId="{960DDCE2-E4A8-4753-A861-1CC5269E8EFC}" type="pres">
      <dgm:prSet presAssocID="{E99C93D1-3E63-4395-8F3D-539049079473}" presName="sibSpaceThree" presStyleCnt="0"/>
      <dgm:spPr/>
    </dgm:pt>
    <dgm:pt modelId="{6315F542-07F9-42B7-9F58-97C5C4662516}" type="pres">
      <dgm:prSet presAssocID="{29D0C570-B90B-434C-BC13-8F2DA69FFE97}" presName="vertThree" presStyleCnt="0"/>
      <dgm:spPr/>
    </dgm:pt>
    <dgm:pt modelId="{EFA85F0F-A555-42DB-B683-6C7318384ED3}" type="pres">
      <dgm:prSet presAssocID="{29D0C570-B90B-434C-BC13-8F2DA69FFE97}" presName="txThree" presStyleLbl="node3" presStyleIdx="7" presStyleCnt="82">
        <dgm:presLayoutVars>
          <dgm:chPref val="3"/>
        </dgm:presLayoutVars>
      </dgm:prSet>
      <dgm:spPr/>
      <dgm:t>
        <a:bodyPr/>
        <a:lstStyle/>
        <a:p>
          <a:endParaRPr lang="en-US"/>
        </a:p>
      </dgm:t>
    </dgm:pt>
    <dgm:pt modelId="{E79A8583-D863-4C8B-B25F-6BE9F2CB1060}" type="pres">
      <dgm:prSet presAssocID="{29D0C570-B90B-434C-BC13-8F2DA69FFE97}" presName="horzThree" presStyleCnt="0"/>
      <dgm:spPr/>
    </dgm:pt>
    <dgm:pt modelId="{14BF5D3A-70A9-40E3-9E01-24FC0C6D5FA1}" type="pres">
      <dgm:prSet presAssocID="{D498996A-28B9-485D-ADEC-03590F459170}" presName="sibSpaceTwo" presStyleCnt="0"/>
      <dgm:spPr/>
      <dgm:t>
        <a:bodyPr/>
        <a:lstStyle/>
        <a:p>
          <a:endParaRPr lang="en-US"/>
        </a:p>
      </dgm:t>
    </dgm:pt>
    <dgm:pt modelId="{990A3BF0-92B1-4AC9-87FF-E18418185EB0}" type="pres">
      <dgm:prSet presAssocID="{2A59CD85-458E-49D4-9ADF-D95CAAAF81C8}" presName="vertTwo" presStyleCnt="0"/>
      <dgm:spPr/>
      <dgm:t>
        <a:bodyPr/>
        <a:lstStyle/>
        <a:p>
          <a:endParaRPr lang="en-US"/>
        </a:p>
      </dgm:t>
    </dgm:pt>
    <dgm:pt modelId="{C55AC12B-0CD1-4BF4-9381-43DE229D9EE8}" type="pres">
      <dgm:prSet presAssocID="{2A59CD85-458E-49D4-9ADF-D95CAAAF81C8}" presName="txTwo" presStyleLbl="node2" presStyleIdx="1" presStyleCnt="6" custLinFactNeighborX="-1147" custLinFactNeighborY="2641">
        <dgm:presLayoutVars>
          <dgm:chPref val="3"/>
        </dgm:presLayoutVars>
      </dgm:prSet>
      <dgm:spPr/>
      <dgm:t>
        <a:bodyPr/>
        <a:lstStyle/>
        <a:p>
          <a:endParaRPr lang="en-US"/>
        </a:p>
      </dgm:t>
    </dgm:pt>
    <dgm:pt modelId="{B50D8648-7CCB-4419-AAD0-BD177847D8B3}" type="pres">
      <dgm:prSet presAssocID="{2A59CD85-458E-49D4-9ADF-D95CAAAF81C8}" presName="parTransTwo" presStyleCnt="0"/>
      <dgm:spPr/>
      <dgm:t>
        <a:bodyPr/>
        <a:lstStyle/>
        <a:p>
          <a:endParaRPr lang="en-US"/>
        </a:p>
      </dgm:t>
    </dgm:pt>
    <dgm:pt modelId="{CB5EEA40-9C7B-42E5-B60C-0EAC9EE3858D}" type="pres">
      <dgm:prSet presAssocID="{2A59CD85-458E-49D4-9ADF-D95CAAAF81C8}" presName="horzTwo" presStyleCnt="0"/>
      <dgm:spPr/>
      <dgm:t>
        <a:bodyPr/>
        <a:lstStyle/>
        <a:p>
          <a:endParaRPr lang="en-US"/>
        </a:p>
      </dgm:t>
    </dgm:pt>
    <dgm:pt modelId="{ADAB4808-897E-4D9D-8EF4-351BE1AA676E}" type="pres">
      <dgm:prSet presAssocID="{59F6F7B8-5289-4B65-A04B-3F79F4B4EE76}" presName="vertThree" presStyleCnt="0"/>
      <dgm:spPr/>
      <dgm:t>
        <a:bodyPr/>
        <a:lstStyle/>
        <a:p>
          <a:endParaRPr lang="en-US"/>
        </a:p>
      </dgm:t>
    </dgm:pt>
    <dgm:pt modelId="{5A7435AB-0EAE-48A3-9BD9-0F03114061DF}" type="pres">
      <dgm:prSet presAssocID="{59F6F7B8-5289-4B65-A04B-3F79F4B4EE76}" presName="txThree" presStyleLbl="node3" presStyleIdx="8" presStyleCnt="82">
        <dgm:presLayoutVars>
          <dgm:chPref val="3"/>
        </dgm:presLayoutVars>
      </dgm:prSet>
      <dgm:spPr/>
      <dgm:t>
        <a:bodyPr/>
        <a:lstStyle/>
        <a:p>
          <a:endParaRPr lang="en-US"/>
        </a:p>
      </dgm:t>
    </dgm:pt>
    <dgm:pt modelId="{D8ECFB1C-529B-4A06-979A-392DE3F918BA}" type="pres">
      <dgm:prSet presAssocID="{59F6F7B8-5289-4B65-A04B-3F79F4B4EE76}" presName="horzThree" presStyleCnt="0"/>
      <dgm:spPr/>
      <dgm:t>
        <a:bodyPr/>
        <a:lstStyle/>
        <a:p>
          <a:endParaRPr lang="en-US"/>
        </a:p>
      </dgm:t>
    </dgm:pt>
    <dgm:pt modelId="{E5AA5157-B469-4027-9F1F-A2B481A32EA9}" type="pres">
      <dgm:prSet presAssocID="{2E30BBD9-D13F-47F3-A433-B188A99F8B3E}" presName="sibSpaceThree" presStyleCnt="0"/>
      <dgm:spPr/>
      <dgm:t>
        <a:bodyPr/>
        <a:lstStyle/>
        <a:p>
          <a:endParaRPr lang="en-US"/>
        </a:p>
      </dgm:t>
    </dgm:pt>
    <dgm:pt modelId="{0CCB3B61-7D98-4494-9D84-718B7A82B386}" type="pres">
      <dgm:prSet presAssocID="{D0D4AE6B-9837-42A2-8E7B-D459278A9B98}" presName="vertThree" presStyleCnt="0"/>
      <dgm:spPr/>
      <dgm:t>
        <a:bodyPr/>
        <a:lstStyle/>
        <a:p>
          <a:endParaRPr lang="en-US"/>
        </a:p>
      </dgm:t>
    </dgm:pt>
    <dgm:pt modelId="{8DFEF4C6-66E1-457A-916F-64179C4E5A9B}" type="pres">
      <dgm:prSet presAssocID="{D0D4AE6B-9837-42A2-8E7B-D459278A9B98}" presName="txThree" presStyleLbl="node3" presStyleIdx="9" presStyleCnt="82">
        <dgm:presLayoutVars>
          <dgm:chPref val="3"/>
        </dgm:presLayoutVars>
      </dgm:prSet>
      <dgm:spPr/>
      <dgm:t>
        <a:bodyPr/>
        <a:lstStyle/>
        <a:p>
          <a:endParaRPr lang="en-US"/>
        </a:p>
      </dgm:t>
    </dgm:pt>
    <dgm:pt modelId="{C0605378-BE31-4FE1-92E7-8635F4EA019F}" type="pres">
      <dgm:prSet presAssocID="{D0D4AE6B-9837-42A2-8E7B-D459278A9B98}" presName="horzThree" presStyleCnt="0"/>
      <dgm:spPr/>
      <dgm:t>
        <a:bodyPr/>
        <a:lstStyle/>
        <a:p>
          <a:endParaRPr lang="en-US"/>
        </a:p>
      </dgm:t>
    </dgm:pt>
    <dgm:pt modelId="{C2FE1532-75E0-42C2-9056-C251E1A5D912}" type="pres">
      <dgm:prSet presAssocID="{9CE46057-B56A-42DB-BB6F-136AD95C9F28}" presName="sibSpaceThree" presStyleCnt="0"/>
      <dgm:spPr/>
      <dgm:t>
        <a:bodyPr/>
        <a:lstStyle/>
        <a:p>
          <a:endParaRPr lang="en-US"/>
        </a:p>
      </dgm:t>
    </dgm:pt>
    <dgm:pt modelId="{B1922FDE-E71C-4DF3-A976-85EE248DB907}" type="pres">
      <dgm:prSet presAssocID="{1FAD0389-CA86-4B9A-9DF8-630A1570B3E9}" presName="vertThree" presStyleCnt="0"/>
      <dgm:spPr/>
      <dgm:t>
        <a:bodyPr/>
        <a:lstStyle/>
        <a:p>
          <a:endParaRPr lang="en-US"/>
        </a:p>
      </dgm:t>
    </dgm:pt>
    <dgm:pt modelId="{0B07CCEB-AA66-4E76-B431-1428E254EF9A}" type="pres">
      <dgm:prSet presAssocID="{1FAD0389-CA86-4B9A-9DF8-630A1570B3E9}" presName="txThree" presStyleLbl="node3" presStyleIdx="10" presStyleCnt="82">
        <dgm:presLayoutVars>
          <dgm:chPref val="3"/>
        </dgm:presLayoutVars>
      </dgm:prSet>
      <dgm:spPr/>
      <dgm:t>
        <a:bodyPr/>
        <a:lstStyle/>
        <a:p>
          <a:endParaRPr lang="en-US"/>
        </a:p>
      </dgm:t>
    </dgm:pt>
    <dgm:pt modelId="{9B5A069C-6F53-471A-AE2D-BB553EA95AC4}" type="pres">
      <dgm:prSet presAssocID="{1FAD0389-CA86-4B9A-9DF8-630A1570B3E9}" presName="horzThree" presStyleCnt="0"/>
      <dgm:spPr/>
      <dgm:t>
        <a:bodyPr/>
        <a:lstStyle/>
        <a:p>
          <a:endParaRPr lang="en-US"/>
        </a:p>
      </dgm:t>
    </dgm:pt>
    <dgm:pt modelId="{3AD7C691-767C-4FF4-AFBB-4BABAC77D048}" type="pres">
      <dgm:prSet presAssocID="{339095E4-C44A-4FF2-8B26-D3C0F77EF5BF}" presName="sibSpaceThree" presStyleCnt="0"/>
      <dgm:spPr/>
      <dgm:t>
        <a:bodyPr/>
        <a:lstStyle/>
        <a:p>
          <a:endParaRPr lang="en-US"/>
        </a:p>
      </dgm:t>
    </dgm:pt>
    <dgm:pt modelId="{15C13FB5-5894-4831-BB4A-A703B8049DC9}" type="pres">
      <dgm:prSet presAssocID="{B1D89FBB-354E-43DC-8BD2-C3AAEDAF58DA}" presName="vertThree" presStyleCnt="0"/>
      <dgm:spPr/>
      <dgm:t>
        <a:bodyPr/>
        <a:lstStyle/>
        <a:p>
          <a:endParaRPr lang="en-US"/>
        </a:p>
      </dgm:t>
    </dgm:pt>
    <dgm:pt modelId="{856C2FA2-2EF2-4EB3-9F07-25F25CEB6C88}" type="pres">
      <dgm:prSet presAssocID="{B1D89FBB-354E-43DC-8BD2-C3AAEDAF58DA}" presName="txThree" presStyleLbl="node3" presStyleIdx="11" presStyleCnt="82">
        <dgm:presLayoutVars>
          <dgm:chPref val="3"/>
        </dgm:presLayoutVars>
      </dgm:prSet>
      <dgm:spPr/>
      <dgm:t>
        <a:bodyPr/>
        <a:lstStyle/>
        <a:p>
          <a:endParaRPr lang="en-US"/>
        </a:p>
      </dgm:t>
    </dgm:pt>
    <dgm:pt modelId="{B24B512C-9E3E-4833-BA8A-006EBD0F9880}" type="pres">
      <dgm:prSet presAssocID="{B1D89FBB-354E-43DC-8BD2-C3AAEDAF58DA}" presName="horzThree" presStyleCnt="0"/>
      <dgm:spPr/>
      <dgm:t>
        <a:bodyPr/>
        <a:lstStyle/>
        <a:p>
          <a:endParaRPr lang="en-US"/>
        </a:p>
      </dgm:t>
    </dgm:pt>
    <dgm:pt modelId="{E910B067-78ED-40CD-8FBE-39D5DA179898}" type="pres">
      <dgm:prSet presAssocID="{8FCC7F70-1D75-4986-B561-54909FE8EBEE}" presName="sibSpaceThree" presStyleCnt="0"/>
      <dgm:spPr/>
      <dgm:t>
        <a:bodyPr/>
        <a:lstStyle/>
        <a:p>
          <a:endParaRPr lang="en-US"/>
        </a:p>
      </dgm:t>
    </dgm:pt>
    <dgm:pt modelId="{CE9608A8-B96B-4667-BA26-A3CF7748C6B5}" type="pres">
      <dgm:prSet presAssocID="{CEA2CCE2-8D14-4012-8A69-0614D20F3844}" presName="vertThree" presStyleCnt="0"/>
      <dgm:spPr/>
      <dgm:t>
        <a:bodyPr/>
        <a:lstStyle/>
        <a:p>
          <a:endParaRPr lang="en-US"/>
        </a:p>
      </dgm:t>
    </dgm:pt>
    <dgm:pt modelId="{B8BC3BA1-ED75-4F94-956E-68AA5E500B2D}" type="pres">
      <dgm:prSet presAssocID="{CEA2CCE2-8D14-4012-8A69-0614D20F3844}" presName="txThree" presStyleLbl="node3" presStyleIdx="12" presStyleCnt="82">
        <dgm:presLayoutVars>
          <dgm:chPref val="3"/>
        </dgm:presLayoutVars>
      </dgm:prSet>
      <dgm:spPr/>
      <dgm:t>
        <a:bodyPr/>
        <a:lstStyle/>
        <a:p>
          <a:endParaRPr lang="en-US"/>
        </a:p>
      </dgm:t>
    </dgm:pt>
    <dgm:pt modelId="{1BE336F6-1FB2-4827-8CA9-9C59EBC7A6C5}" type="pres">
      <dgm:prSet presAssocID="{CEA2CCE2-8D14-4012-8A69-0614D20F3844}" presName="horzThree" presStyleCnt="0"/>
      <dgm:spPr/>
      <dgm:t>
        <a:bodyPr/>
        <a:lstStyle/>
        <a:p>
          <a:endParaRPr lang="en-US"/>
        </a:p>
      </dgm:t>
    </dgm:pt>
    <dgm:pt modelId="{3DE1196E-0250-4CDA-91C9-03031D49363E}" type="pres">
      <dgm:prSet presAssocID="{B7E68179-EB44-4BB7-A2C2-8F5A9A857B14}" presName="sibSpaceThree" presStyleCnt="0"/>
      <dgm:spPr/>
      <dgm:t>
        <a:bodyPr/>
        <a:lstStyle/>
        <a:p>
          <a:endParaRPr lang="en-US"/>
        </a:p>
      </dgm:t>
    </dgm:pt>
    <dgm:pt modelId="{4A3C540A-A0EF-4885-90FE-BFAF1D42F7B6}" type="pres">
      <dgm:prSet presAssocID="{FFBF19EB-AD26-4AE4-8646-7FC634809800}" presName="vertThree" presStyleCnt="0"/>
      <dgm:spPr/>
      <dgm:t>
        <a:bodyPr/>
        <a:lstStyle/>
        <a:p>
          <a:endParaRPr lang="en-US"/>
        </a:p>
      </dgm:t>
    </dgm:pt>
    <dgm:pt modelId="{F8AC719F-CAF3-491D-A1F9-4D5765FED417}" type="pres">
      <dgm:prSet presAssocID="{FFBF19EB-AD26-4AE4-8646-7FC634809800}" presName="txThree" presStyleLbl="node3" presStyleIdx="13" presStyleCnt="82">
        <dgm:presLayoutVars>
          <dgm:chPref val="3"/>
        </dgm:presLayoutVars>
      </dgm:prSet>
      <dgm:spPr/>
      <dgm:t>
        <a:bodyPr/>
        <a:lstStyle/>
        <a:p>
          <a:endParaRPr lang="en-US"/>
        </a:p>
      </dgm:t>
    </dgm:pt>
    <dgm:pt modelId="{981978B0-C8F8-4E42-8D21-1AEFB26AB41B}" type="pres">
      <dgm:prSet presAssocID="{FFBF19EB-AD26-4AE4-8646-7FC634809800}" presName="horzThree" presStyleCnt="0"/>
      <dgm:spPr/>
      <dgm:t>
        <a:bodyPr/>
        <a:lstStyle/>
        <a:p>
          <a:endParaRPr lang="en-US"/>
        </a:p>
      </dgm:t>
    </dgm:pt>
    <dgm:pt modelId="{8F8D5C7A-2F87-40DD-91F1-19929F1515F2}" type="pres">
      <dgm:prSet presAssocID="{DAEDBA6F-87A6-41A1-A545-65E7EEA60FD3}" presName="sibSpaceThree" presStyleCnt="0"/>
      <dgm:spPr/>
      <dgm:t>
        <a:bodyPr/>
        <a:lstStyle/>
        <a:p>
          <a:endParaRPr lang="en-US"/>
        </a:p>
      </dgm:t>
    </dgm:pt>
    <dgm:pt modelId="{4E199233-8DFA-43C6-B3C0-AD9AF37316EC}" type="pres">
      <dgm:prSet presAssocID="{15858814-A724-442E-A125-A80D28948050}" presName="vertThree" presStyleCnt="0"/>
      <dgm:spPr/>
      <dgm:t>
        <a:bodyPr/>
        <a:lstStyle/>
        <a:p>
          <a:endParaRPr lang="en-US"/>
        </a:p>
      </dgm:t>
    </dgm:pt>
    <dgm:pt modelId="{F783456F-55BA-48F3-946C-335CB438F782}" type="pres">
      <dgm:prSet presAssocID="{15858814-A724-442E-A125-A80D28948050}" presName="txThree" presStyleLbl="node3" presStyleIdx="14" presStyleCnt="82">
        <dgm:presLayoutVars>
          <dgm:chPref val="3"/>
        </dgm:presLayoutVars>
      </dgm:prSet>
      <dgm:spPr/>
      <dgm:t>
        <a:bodyPr/>
        <a:lstStyle/>
        <a:p>
          <a:endParaRPr lang="en-US"/>
        </a:p>
      </dgm:t>
    </dgm:pt>
    <dgm:pt modelId="{BA92AC88-617C-418C-A39F-022E0AEF5655}" type="pres">
      <dgm:prSet presAssocID="{15858814-A724-442E-A125-A80D28948050}" presName="horzThree" presStyleCnt="0"/>
      <dgm:spPr/>
      <dgm:t>
        <a:bodyPr/>
        <a:lstStyle/>
        <a:p>
          <a:endParaRPr lang="en-US"/>
        </a:p>
      </dgm:t>
    </dgm:pt>
    <dgm:pt modelId="{9E6C0E42-0BE3-402C-AEEE-0BB54031755D}" type="pres">
      <dgm:prSet presAssocID="{BC6DB74A-6D33-4097-8BCF-E0A2F605489E}" presName="sibSpaceThree" presStyleCnt="0"/>
      <dgm:spPr/>
      <dgm:t>
        <a:bodyPr/>
        <a:lstStyle/>
        <a:p>
          <a:endParaRPr lang="en-US"/>
        </a:p>
      </dgm:t>
    </dgm:pt>
    <dgm:pt modelId="{06BC2E03-149E-4D71-A80E-D6D02AE7F6F4}" type="pres">
      <dgm:prSet presAssocID="{F97AE781-5E02-4F6A-A5A2-4BED3F93526F}" presName="vertThree" presStyleCnt="0"/>
      <dgm:spPr/>
      <dgm:t>
        <a:bodyPr/>
        <a:lstStyle/>
        <a:p>
          <a:endParaRPr lang="en-US"/>
        </a:p>
      </dgm:t>
    </dgm:pt>
    <dgm:pt modelId="{720B06E0-9EA7-47F7-98E8-655F7F53DCF4}" type="pres">
      <dgm:prSet presAssocID="{F97AE781-5E02-4F6A-A5A2-4BED3F93526F}" presName="txThree" presStyleLbl="node3" presStyleIdx="15" presStyleCnt="82">
        <dgm:presLayoutVars>
          <dgm:chPref val="3"/>
        </dgm:presLayoutVars>
      </dgm:prSet>
      <dgm:spPr/>
      <dgm:t>
        <a:bodyPr/>
        <a:lstStyle/>
        <a:p>
          <a:endParaRPr lang="en-US"/>
        </a:p>
      </dgm:t>
    </dgm:pt>
    <dgm:pt modelId="{A3D43EDE-B3CA-4B66-BB6A-D3BA096B61F0}" type="pres">
      <dgm:prSet presAssocID="{F97AE781-5E02-4F6A-A5A2-4BED3F93526F}" presName="horzThree" presStyleCnt="0"/>
      <dgm:spPr/>
      <dgm:t>
        <a:bodyPr/>
        <a:lstStyle/>
        <a:p>
          <a:endParaRPr lang="en-US"/>
        </a:p>
      </dgm:t>
    </dgm:pt>
    <dgm:pt modelId="{E56EAA93-2454-49A9-8D48-ACCED1B300DB}" type="pres">
      <dgm:prSet presAssocID="{5AC71A4C-1984-473F-83FF-B4A7A733E251}" presName="sibSpaceThree" presStyleCnt="0"/>
      <dgm:spPr/>
      <dgm:t>
        <a:bodyPr/>
        <a:lstStyle/>
        <a:p>
          <a:endParaRPr lang="en-US"/>
        </a:p>
      </dgm:t>
    </dgm:pt>
    <dgm:pt modelId="{A6FD77D6-5813-43DF-BC77-53A851938912}" type="pres">
      <dgm:prSet presAssocID="{7932597D-7F34-4283-8CA5-B4E22EFABD74}" presName="vertThree" presStyleCnt="0"/>
      <dgm:spPr/>
      <dgm:t>
        <a:bodyPr/>
        <a:lstStyle/>
        <a:p>
          <a:endParaRPr lang="en-US"/>
        </a:p>
      </dgm:t>
    </dgm:pt>
    <dgm:pt modelId="{AFAC0F0D-098F-4D27-93F0-D66465E8FF0D}" type="pres">
      <dgm:prSet presAssocID="{7932597D-7F34-4283-8CA5-B4E22EFABD74}" presName="txThree" presStyleLbl="node3" presStyleIdx="16" presStyleCnt="82">
        <dgm:presLayoutVars>
          <dgm:chPref val="3"/>
        </dgm:presLayoutVars>
      </dgm:prSet>
      <dgm:spPr/>
      <dgm:t>
        <a:bodyPr/>
        <a:lstStyle/>
        <a:p>
          <a:endParaRPr lang="en-US"/>
        </a:p>
      </dgm:t>
    </dgm:pt>
    <dgm:pt modelId="{4B280464-40BD-49E1-9156-1AFEAACBC42E}" type="pres">
      <dgm:prSet presAssocID="{7932597D-7F34-4283-8CA5-B4E22EFABD74}" presName="horzThree" presStyleCnt="0"/>
      <dgm:spPr/>
      <dgm:t>
        <a:bodyPr/>
        <a:lstStyle/>
        <a:p>
          <a:endParaRPr lang="en-US"/>
        </a:p>
      </dgm:t>
    </dgm:pt>
    <dgm:pt modelId="{99401B13-7A6D-4FA8-B8E5-B737C9EB106A}" type="pres">
      <dgm:prSet presAssocID="{576A7E52-2ECC-4F63-88B5-A18E3931C464}" presName="sibSpaceThree" presStyleCnt="0"/>
      <dgm:spPr/>
      <dgm:t>
        <a:bodyPr/>
        <a:lstStyle/>
        <a:p>
          <a:endParaRPr lang="en-US"/>
        </a:p>
      </dgm:t>
    </dgm:pt>
    <dgm:pt modelId="{881E802C-EE88-475C-AAA9-E2944C09AA02}" type="pres">
      <dgm:prSet presAssocID="{2DB36196-5045-4FF2-A7B8-91920A383148}" presName="vertThree" presStyleCnt="0"/>
      <dgm:spPr/>
      <dgm:t>
        <a:bodyPr/>
        <a:lstStyle/>
        <a:p>
          <a:endParaRPr lang="en-US"/>
        </a:p>
      </dgm:t>
    </dgm:pt>
    <dgm:pt modelId="{06466438-6FC9-465C-AA86-A61300E5A226}" type="pres">
      <dgm:prSet presAssocID="{2DB36196-5045-4FF2-A7B8-91920A383148}" presName="txThree" presStyleLbl="node3" presStyleIdx="17" presStyleCnt="82">
        <dgm:presLayoutVars>
          <dgm:chPref val="3"/>
        </dgm:presLayoutVars>
      </dgm:prSet>
      <dgm:spPr/>
      <dgm:t>
        <a:bodyPr/>
        <a:lstStyle/>
        <a:p>
          <a:endParaRPr lang="en-US"/>
        </a:p>
      </dgm:t>
    </dgm:pt>
    <dgm:pt modelId="{EA0CBFCB-BFFD-49C6-AA45-75645F7C75C4}" type="pres">
      <dgm:prSet presAssocID="{2DB36196-5045-4FF2-A7B8-91920A383148}" presName="horzThree" presStyleCnt="0"/>
      <dgm:spPr/>
      <dgm:t>
        <a:bodyPr/>
        <a:lstStyle/>
        <a:p>
          <a:endParaRPr lang="en-US"/>
        </a:p>
      </dgm:t>
    </dgm:pt>
    <dgm:pt modelId="{4D041AE0-81DF-4DE2-A16B-6D9C1EB661F8}" type="pres">
      <dgm:prSet presAssocID="{CA5540A7-C468-490A-B908-B74FAD8C7634}" presName="sibSpaceThree" presStyleCnt="0"/>
      <dgm:spPr/>
      <dgm:t>
        <a:bodyPr/>
        <a:lstStyle/>
        <a:p>
          <a:endParaRPr lang="en-US"/>
        </a:p>
      </dgm:t>
    </dgm:pt>
    <dgm:pt modelId="{C7E4E47B-E048-41B9-A47D-7A47BCADDE41}" type="pres">
      <dgm:prSet presAssocID="{E226EA3E-5102-4521-A24C-CB6C2C44DB38}" presName="vertThree" presStyleCnt="0"/>
      <dgm:spPr/>
      <dgm:t>
        <a:bodyPr/>
        <a:lstStyle/>
        <a:p>
          <a:endParaRPr lang="en-US"/>
        </a:p>
      </dgm:t>
    </dgm:pt>
    <dgm:pt modelId="{4C3F5D75-D660-4196-BE58-4FEEA2FD1070}" type="pres">
      <dgm:prSet presAssocID="{E226EA3E-5102-4521-A24C-CB6C2C44DB38}" presName="txThree" presStyleLbl="node3" presStyleIdx="18" presStyleCnt="82">
        <dgm:presLayoutVars>
          <dgm:chPref val="3"/>
        </dgm:presLayoutVars>
      </dgm:prSet>
      <dgm:spPr/>
      <dgm:t>
        <a:bodyPr/>
        <a:lstStyle/>
        <a:p>
          <a:endParaRPr lang="en-US"/>
        </a:p>
      </dgm:t>
    </dgm:pt>
    <dgm:pt modelId="{49F1A65B-AF96-4533-99BB-767B33984E36}" type="pres">
      <dgm:prSet presAssocID="{E226EA3E-5102-4521-A24C-CB6C2C44DB38}" presName="horzThree" presStyleCnt="0"/>
      <dgm:spPr/>
      <dgm:t>
        <a:bodyPr/>
        <a:lstStyle/>
        <a:p>
          <a:endParaRPr lang="en-US"/>
        </a:p>
      </dgm:t>
    </dgm:pt>
    <dgm:pt modelId="{ADBC21C9-895B-4E88-91CD-7A8CA39FEF60}" type="pres">
      <dgm:prSet presAssocID="{5114796E-4FF7-49EF-8211-C30DBAB34C6C}" presName="sibSpaceThree" presStyleCnt="0"/>
      <dgm:spPr/>
      <dgm:t>
        <a:bodyPr/>
        <a:lstStyle/>
        <a:p>
          <a:endParaRPr lang="en-US"/>
        </a:p>
      </dgm:t>
    </dgm:pt>
    <dgm:pt modelId="{16D7C5B6-F0B7-4E66-A571-2A4DF843B59D}" type="pres">
      <dgm:prSet presAssocID="{6CB2108B-431B-4263-B8DB-70FA5449DA72}" presName="vertThree" presStyleCnt="0"/>
      <dgm:spPr/>
      <dgm:t>
        <a:bodyPr/>
        <a:lstStyle/>
        <a:p>
          <a:endParaRPr lang="en-US"/>
        </a:p>
      </dgm:t>
    </dgm:pt>
    <dgm:pt modelId="{F3462B34-FF24-4172-91C1-2E0B070780EF}" type="pres">
      <dgm:prSet presAssocID="{6CB2108B-431B-4263-B8DB-70FA5449DA72}" presName="txThree" presStyleLbl="node3" presStyleIdx="19" presStyleCnt="82">
        <dgm:presLayoutVars>
          <dgm:chPref val="3"/>
        </dgm:presLayoutVars>
      </dgm:prSet>
      <dgm:spPr/>
      <dgm:t>
        <a:bodyPr/>
        <a:lstStyle/>
        <a:p>
          <a:endParaRPr lang="en-US"/>
        </a:p>
      </dgm:t>
    </dgm:pt>
    <dgm:pt modelId="{E474479C-80A4-4AD5-AF57-34A04E5D2C19}" type="pres">
      <dgm:prSet presAssocID="{6CB2108B-431B-4263-B8DB-70FA5449DA72}" presName="horzThree" presStyleCnt="0"/>
      <dgm:spPr/>
      <dgm:t>
        <a:bodyPr/>
        <a:lstStyle/>
        <a:p>
          <a:endParaRPr lang="en-US"/>
        </a:p>
      </dgm:t>
    </dgm:pt>
    <dgm:pt modelId="{2AEE8CA7-0EFF-45F9-86EF-D4A68FD99638}" type="pres">
      <dgm:prSet presAssocID="{BA91E286-8E58-4502-859A-03A18A848D8A}" presName="sibSpaceThree" presStyleCnt="0"/>
      <dgm:spPr/>
      <dgm:t>
        <a:bodyPr/>
        <a:lstStyle/>
        <a:p>
          <a:endParaRPr lang="en-US"/>
        </a:p>
      </dgm:t>
    </dgm:pt>
    <dgm:pt modelId="{56F4B9FF-9A72-4827-B424-3C2CA7908779}" type="pres">
      <dgm:prSet presAssocID="{F9E0F2FF-AAE3-4366-8130-773ACB89D1DB}" presName="vertThree" presStyleCnt="0"/>
      <dgm:spPr/>
      <dgm:t>
        <a:bodyPr/>
        <a:lstStyle/>
        <a:p>
          <a:endParaRPr lang="en-US"/>
        </a:p>
      </dgm:t>
    </dgm:pt>
    <dgm:pt modelId="{6F070F02-522B-4806-862C-30037E8CEB58}" type="pres">
      <dgm:prSet presAssocID="{F9E0F2FF-AAE3-4366-8130-773ACB89D1DB}" presName="txThree" presStyleLbl="node3" presStyleIdx="20" presStyleCnt="82">
        <dgm:presLayoutVars>
          <dgm:chPref val="3"/>
        </dgm:presLayoutVars>
      </dgm:prSet>
      <dgm:spPr/>
      <dgm:t>
        <a:bodyPr/>
        <a:lstStyle/>
        <a:p>
          <a:endParaRPr lang="en-US"/>
        </a:p>
      </dgm:t>
    </dgm:pt>
    <dgm:pt modelId="{5151B941-48BB-453F-B353-A8CB84061F92}" type="pres">
      <dgm:prSet presAssocID="{F9E0F2FF-AAE3-4366-8130-773ACB89D1DB}" presName="horzThree" presStyleCnt="0"/>
      <dgm:spPr/>
      <dgm:t>
        <a:bodyPr/>
        <a:lstStyle/>
        <a:p>
          <a:endParaRPr lang="en-US"/>
        </a:p>
      </dgm:t>
    </dgm:pt>
    <dgm:pt modelId="{C6E8C718-FCB8-4990-98D5-B84EF51F83EB}" type="pres">
      <dgm:prSet presAssocID="{23A2CB14-291F-4F33-8CBA-0EB812D8ACE8}" presName="sibSpaceThree" presStyleCnt="0"/>
      <dgm:spPr/>
      <dgm:t>
        <a:bodyPr/>
        <a:lstStyle/>
        <a:p>
          <a:endParaRPr lang="en-US"/>
        </a:p>
      </dgm:t>
    </dgm:pt>
    <dgm:pt modelId="{C10FF7FC-75AE-4E2F-80E9-D3DC91C04A8E}" type="pres">
      <dgm:prSet presAssocID="{DC77AB2F-5AA5-4501-8AD8-34EA89473011}" presName="vertThree" presStyleCnt="0"/>
      <dgm:spPr/>
      <dgm:t>
        <a:bodyPr/>
        <a:lstStyle/>
        <a:p>
          <a:endParaRPr lang="en-US"/>
        </a:p>
      </dgm:t>
    </dgm:pt>
    <dgm:pt modelId="{48736913-BC95-4CB6-B20E-8675B0283067}" type="pres">
      <dgm:prSet presAssocID="{DC77AB2F-5AA5-4501-8AD8-34EA89473011}" presName="txThree" presStyleLbl="node3" presStyleIdx="21" presStyleCnt="82">
        <dgm:presLayoutVars>
          <dgm:chPref val="3"/>
        </dgm:presLayoutVars>
      </dgm:prSet>
      <dgm:spPr/>
      <dgm:t>
        <a:bodyPr/>
        <a:lstStyle/>
        <a:p>
          <a:endParaRPr lang="en-US"/>
        </a:p>
      </dgm:t>
    </dgm:pt>
    <dgm:pt modelId="{F4A0C095-EDCE-40DD-B2B2-51A6E425CDBA}" type="pres">
      <dgm:prSet presAssocID="{DC77AB2F-5AA5-4501-8AD8-34EA89473011}" presName="horzThree" presStyleCnt="0"/>
      <dgm:spPr/>
      <dgm:t>
        <a:bodyPr/>
        <a:lstStyle/>
        <a:p>
          <a:endParaRPr lang="en-US"/>
        </a:p>
      </dgm:t>
    </dgm:pt>
    <dgm:pt modelId="{9019FC45-9A72-441B-96F0-F93F63BC2DC8}" type="pres">
      <dgm:prSet presAssocID="{6EC287D7-EE10-43A1-B969-4FFBF25CD804}" presName="sibSpaceThree" presStyleCnt="0"/>
      <dgm:spPr/>
      <dgm:t>
        <a:bodyPr/>
        <a:lstStyle/>
        <a:p>
          <a:endParaRPr lang="en-US"/>
        </a:p>
      </dgm:t>
    </dgm:pt>
    <dgm:pt modelId="{18544BD9-A326-437E-B0C0-3D0C8D613A4B}" type="pres">
      <dgm:prSet presAssocID="{3E5C0A3D-7CAE-4EEC-AEEB-D474A919245E}" presName="vertThree" presStyleCnt="0"/>
      <dgm:spPr/>
      <dgm:t>
        <a:bodyPr/>
        <a:lstStyle/>
        <a:p>
          <a:endParaRPr lang="en-US"/>
        </a:p>
      </dgm:t>
    </dgm:pt>
    <dgm:pt modelId="{5E00F13C-3E1F-476C-8759-D090A25C8392}" type="pres">
      <dgm:prSet presAssocID="{3E5C0A3D-7CAE-4EEC-AEEB-D474A919245E}" presName="txThree" presStyleLbl="node3" presStyleIdx="22" presStyleCnt="82">
        <dgm:presLayoutVars>
          <dgm:chPref val="3"/>
        </dgm:presLayoutVars>
      </dgm:prSet>
      <dgm:spPr/>
      <dgm:t>
        <a:bodyPr/>
        <a:lstStyle/>
        <a:p>
          <a:endParaRPr lang="en-US"/>
        </a:p>
      </dgm:t>
    </dgm:pt>
    <dgm:pt modelId="{F7E5F7B2-326E-4B39-AE86-EC8BF97B24F6}" type="pres">
      <dgm:prSet presAssocID="{3E5C0A3D-7CAE-4EEC-AEEB-D474A919245E}" presName="horzThree" presStyleCnt="0"/>
      <dgm:spPr/>
      <dgm:t>
        <a:bodyPr/>
        <a:lstStyle/>
        <a:p>
          <a:endParaRPr lang="en-US"/>
        </a:p>
      </dgm:t>
    </dgm:pt>
    <dgm:pt modelId="{D61841F4-DA26-4305-A517-186BF2348244}" type="pres">
      <dgm:prSet presAssocID="{AC2ADDBD-B25A-4147-9869-B701568DE5EC}" presName="sibSpaceThree" presStyleCnt="0"/>
      <dgm:spPr/>
      <dgm:t>
        <a:bodyPr/>
        <a:lstStyle/>
        <a:p>
          <a:endParaRPr lang="en-US"/>
        </a:p>
      </dgm:t>
    </dgm:pt>
    <dgm:pt modelId="{B38CB48A-B654-49D3-B3CF-55A571EAFEDE}" type="pres">
      <dgm:prSet presAssocID="{DE7967FF-F145-449D-98A6-64158A2381B4}" presName="vertThree" presStyleCnt="0"/>
      <dgm:spPr/>
      <dgm:t>
        <a:bodyPr/>
        <a:lstStyle/>
        <a:p>
          <a:endParaRPr lang="en-US"/>
        </a:p>
      </dgm:t>
    </dgm:pt>
    <dgm:pt modelId="{99015059-36D6-478F-9D2D-F2C276ECB7CC}" type="pres">
      <dgm:prSet presAssocID="{DE7967FF-F145-449D-98A6-64158A2381B4}" presName="txThree" presStyleLbl="node3" presStyleIdx="23" presStyleCnt="82">
        <dgm:presLayoutVars>
          <dgm:chPref val="3"/>
        </dgm:presLayoutVars>
      </dgm:prSet>
      <dgm:spPr/>
      <dgm:t>
        <a:bodyPr/>
        <a:lstStyle/>
        <a:p>
          <a:endParaRPr lang="en-US"/>
        </a:p>
      </dgm:t>
    </dgm:pt>
    <dgm:pt modelId="{A15B1B78-A86E-4B0E-9B52-1EE563092054}" type="pres">
      <dgm:prSet presAssocID="{DE7967FF-F145-449D-98A6-64158A2381B4}" presName="horzThree" presStyleCnt="0"/>
      <dgm:spPr/>
      <dgm:t>
        <a:bodyPr/>
        <a:lstStyle/>
        <a:p>
          <a:endParaRPr lang="en-US"/>
        </a:p>
      </dgm:t>
    </dgm:pt>
    <dgm:pt modelId="{90DA7ED6-6D44-4D1A-8E2B-445C72B8DFD0}" type="pres">
      <dgm:prSet presAssocID="{215C0B3A-D1E7-4213-975F-A027D3D7FB6F}" presName="sibSpaceThree" presStyleCnt="0"/>
      <dgm:spPr/>
      <dgm:t>
        <a:bodyPr/>
        <a:lstStyle/>
        <a:p>
          <a:endParaRPr lang="en-US"/>
        </a:p>
      </dgm:t>
    </dgm:pt>
    <dgm:pt modelId="{555310BC-3AC8-4AFD-83EA-5B7AEED9724A}" type="pres">
      <dgm:prSet presAssocID="{7A80C44F-C256-4784-A7E0-7DC9822CA587}" presName="vertThree" presStyleCnt="0"/>
      <dgm:spPr/>
      <dgm:t>
        <a:bodyPr/>
        <a:lstStyle/>
        <a:p>
          <a:endParaRPr lang="en-US"/>
        </a:p>
      </dgm:t>
    </dgm:pt>
    <dgm:pt modelId="{3ED49043-29E7-4BBC-86E3-7DC64D882336}" type="pres">
      <dgm:prSet presAssocID="{7A80C44F-C256-4784-A7E0-7DC9822CA587}" presName="txThree" presStyleLbl="node3" presStyleIdx="24" presStyleCnt="82">
        <dgm:presLayoutVars>
          <dgm:chPref val="3"/>
        </dgm:presLayoutVars>
      </dgm:prSet>
      <dgm:spPr/>
      <dgm:t>
        <a:bodyPr/>
        <a:lstStyle/>
        <a:p>
          <a:endParaRPr lang="en-US"/>
        </a:p>
      </dgm:t>
    </dgm:pt>
    <dgm:pt modelId="{1293E107-59C2-4FA1-8318-1EC004E00B65}" type="pres">
      <dgm:prSet presAssocID="{7A80C44F-C256-4784-A7E0-7DC9822CA587}" presName="horzThree" presStyleCnt="0"/>
      <dgm:spPr/>
      <dgm:t>
        <a:bodyPr/>
        <a:lstStyle/>
        <a:p>
          <a:endParaRPr lang="en-US"/>
        </a:p>
      </dgm:t>
    </dgm:pt>
    <dgm:pt modelId="{94A05327-AFA2-4482-8819-7CD097E7C9E7}" type="pres">
      <dgm:prSet presAssocID="{962BE385-992A-4B95-8D2B-342B7EAC052C}" presName="sibSpaceThree" presStyleCnt="0"/>
      <dgm:spPr/>
      <dgm:t>
        <a:bodyPr/>
        <a:lstStyle/>
        <a:p>
          <a:endParaRPr lang="en-US"/>
        </a:p>
      </dgm:t>
    </dgm:pt>
    <dgm:pt modelId="{301809FE-B005-4B94-9ECA-5A1EE79554D7}" type="pres">
      <dgm:prSet presAssocID="{18722CAA-CD1D-465E-87CE-74A95A335F80}" presName="vertThree" presStyleCnt="0"/>
      <dgm:spPr/>
      <dgm:t>
        <a:bodyPr/>
        <a:lstStyle/>
        <a:p>
          <a:endParaRPr lang="en-US"/>
        </a:p>
      </dgm:t>
    </dgm:pt>
    <dgm:pt modelId="{B8E542A7-D4A3-4AD8-9A5B-37B095D516AC}" type="pres">
      <dgm:prSet presAssocID="{18722CAA-CD1D-465E-87CE-74A95A335F80}" presName="txThree" presStyleLbl="node3" presStyleIdx="25" presStyleCnt="82">
        <dgm:presLayoutVars>
          <dgm:chPref val="3"/>
        </dgm:presLayoutVars>
      </dgm:prSet>
      <dgm:spPr/>
      <dgm:t>
        <a:bodyPr/>
        <a:lstStyle/>
        <a:p>
          <a:endParaRPr lang="en-US"/>
        </a:p>
      </dgm:t>
    </dgm:pt>
    <dgm:pt modelId="{1723A7A8-8E78-4714-A1AB-4332C3FE82CE}" type="pres">
      <dgm:prSet presAssocID="{18722CAA-CD1D-465E-87CE-74A95A335F80}" presName="horzThree" presStyleCnt="0"/>
      <dgm:spPr/>
      <dgm:t>
        <a:bodyPr/>
        <a:lstStyle/>
        <a:p>
          <a:endParaRPr lang="en-US"/>
        </a:p>
      </dgm:t>
    </dgm:pt>
    <dgm:pt modelId="{B1A682E7-388D-46DD-9E44-7A4044B2BFD4}" type="pres">
      <dgm:prSet presAssocID="{E637B16C-768F-450C-A58B-887CE75A9DFE}" presName="sibSpaceThree" presStyleCnt="0"/>
      <dgm:spPr/>
      <dgm:t>
        <a:bodyPr/>
        <a:lstStyle/>
        <a:p>
          <a:endParaRPr lang="en-US"/>
        </a:p>
      </dgm:t>
    </dgm:pt>
    <dgm:pt modelId="{4A495F18-B7EA-47B0-B366-6F2F2FC0E18C}" type="pres">
      <dgm:prSet presAssocID="{E7EB3BC9-39E5-4B58-8BC9-2B4A2A2A1E80}" presName="vertThree" presStyleCnt="0"/>
      <dgm:spPr/>
      <dgm:t>
        <a:bodyPr/>
        <a:lstStyle/>
        <a:p>
          <a:endParaRPr lang="en-US"/>
        </a:p>
      </dgm:t>
    </dgm:pt>
    <dgm:pt modelId="{D1EF3942-842E-42C7-8026-E3C76461607B}" type="pres">
      <dgm:prSet presAssocID="{E7EB3BC9-39E5-4B58-8BC9-2B4A2A2A1E80}" presName="txThree" presStyleLbl="node3" presStyleIdx="26" presStyleCnt="82">
        <dgm:presLayoutVars>
          <dgm:chPref val="3"/>
        </dgm:presLayoutVars>
      </dgm:prSet>
      <dgm:spPr/>
      <dgm:t>
        <a:bodyPr/>
        <a:lstStyle/>
        <a:p>
          <a:endParaRPr lang="en-US"/>
        </a:p>
      </dgm:t>
    </dgm:pt>
    <dgm:pt modelId="{A1BDC8EB-CFB9-4897-86EB-111E7AA6307B}" type="pres">
      <dgm:prSet presAssocID="{E7EB3BC9-39E5-4B58-8BC9-2B4A2A2A1E80}" presName="horzThree" presStyleCnt="0"/>
      <dgm:spPr/>
      <dgm:t>
        <a:bodyPr/>
        <a:lstStyle/>
        <a:p>
          <a:endParaRPr lang="en-US"/>
        </a:p>
      </dgm:t>
    </dgm:pt>
    <dgm:pt modelId="{8D7609C3-69FE-4D14-820F-CBA6AE302149}" type="pres">
      <dgm:prSet presAssocID="{1D5FDC79-207F-45C8-8B09-33E09BDE7BA2}" presName="sibSpaceThree" presStyleCnt="0"/>
      <dgm:spPr/>
      <dgm:t>
        <a:bodyPr/>
        <a:lstStyle/>
        <a:p>
          <a:endParaRPr lang="en-US"/>
        </a:p>
      </dgm:t>
    </dgm:pt>
    <dgm:pt modelId="{A4E8C22E-2615-4811-899D-C3AB9287E1AB}" type="pres">
      <dgm:prSet presAssocID="{2F60C32C-D12F-4999-92C4-EF8A795BE8A0}" presName="vertThree" presStyleCnt="0"/>
      <dgm:spPr/>
      <dgm:t>
        <a:bodyPr/>
        <a:lstStyle/>
        <a:p>
          <a:endParaRPr lang="en-US"/>
        </a:p>
      </dgm:t>
    </dgm:pt>
    <dgm:pt modelId="{0C6D0EC8-91E8-4AA8-93C0-4DAA11895146}" type="pres">
      <dgm:prSet presAssocID="{2F60C32C-D12F-4999-92C4-EF8A795BE8A0}" presName="txThree" presStyleLbl="node3" presStyleIdx="27" presStyleCnt="82">
        <dgm:presLayoutVars>
          <dgm:chPref val="3"/>
        </dgm:presLayoutVars>
      </dgm:prSet>
      <dgm:spPr/>
      <dgm:t>
        <a:bodyPr/>
        <a:lstStyle/>
        <a:p>
          <a:endParaRPr lang="en-US"/>
        </a:p>
      </dgm:t>
    </dgm:pt>
    <dgm:pt modelId="{F9702C30-D97D-4EEE-AC1E-D0E8740DE0EF}" type="pres">
      <dgm:prSet presAssocID="{2F60C32C-D12F-4999-92C4-EF8A795BE8A0}" presName="horzThree" presStyleCnt="0"/>
      <dgm:spPr/>
      <dgm:t>
        <a:bodyPr/>
        <a:lstStyle/>
        <a:p>
          <a:endParaRPr lang="en-US"/>
        </a:p>
      </dgm:t>
    </dgm:pt>
    <dgm:pt modelId="{512F80F8-88E3-431E-82EC-C426ECC10653}" type="pres">
      <dgm:prSet presAssocID="{A3091473-A773-41CC-8C52-2C6874499AD5}" presName="sibSpaceThree" presStyleCnt="0"/>
      <dgm:spPr/>
      <dgm:t>
        <a:bodyPr/>
        <a:lstStyle/>
        <a:p>
          <a:endParaRPr lang="en-US"/>
        </a:p>
      </dgm:t>
    </dgm:pt>
    <dgm:pt modelId="{90815BAF-29ED-4CBC-8479-13919DFB63B6}" type="pres">
      <dgm:prSet presAssocID="{FA5A1A6B-8D40-4149-898B-2E19DC9AAEA1}" presName="vertThree" presStyleCnt="0"/>
      <dgm:spPr/>
      <dgm:t>
        <a:bodyPr/>
        <a:lstStyle/>
        <a:p>
          <a:endParaRPr lang="en-US"/>
        </a:p>
      </dgm:t>
    </dgm:pt>
    <dgm:pt modelId="{4F4A972E-72CA-4840-B62A-B0BADCE79ED7}" type="pres">
      <dgm:prSet presAssocID="{FA5A1A6B-8D40-4149-898B-2E19DC9AAEA1}" presName="txThree" presStyleLbl="node3" presStyleIdx="28" presStyleCnt="82">
        <dgm:presLayoutVars>
          <dgm:chPref val="3"/>
        </dgm:presLayoutVars>
      </dgm:prSet>
      <dgm:spPr/>
      <dgm:t>
        <a:bodyPr/>
        <a:lstStyle/>
        <a:p>
          <a:endParaRPr lang="en-US"/>
        </a:p>
      </dgm:t>
    </dgm:pt>
    <dgm:pt modelId="{20799CD9-0919-417C-9ECF-DE048A61F2BA}" type="pres">
      <dgm:prSet presAssocID="{FA5A1A6B-8D40-4149-898B-2E19DC9AAEA1}" presName="horzThree" presStyleCnt="0"/>
      <dgm:spPr/>
      <dgm:t>
        <a:bodyPr/>
        <a:lstStyle/>
        <a:p>
          <a:endParaRPr lang="en-US"/>
        </a:p>
      </dgm:t>
    </dgm:pt>
    <dgm:pt modelId="{E66C1FF9-532B-47FE-9A52-DD8A553E8DCD}" type="pres">
      <dgm:prSet presAssocID="{F45FED01-E98E-4388-8BCF-AAA9A7D2D6F9}" presName="sibSpaceThree" presStyleCnt="0"/>
      <dgm:spPr/>
      <dgm:t>
        <a:bodyPr/>
        <a:lstStyle/>
        <a:p>
          <a:endParaRPr lang="en-US"/>
        </a:p>
      </dgm:t>
    </dgm:pt>
    <dgm:pt modelId="{0EFDDD48-3B1C-4213-AAA3-E68EAFEE3B4F}" type="pres">
      <dgm:prSet presAssocID="{8CEB72ED-CD58-4818-9E18-1A7F39C30851}" presName="vertThree" presStyleCnt="0"/>
      <dgm:spPr/>
      <dgm:t>
        <a:bodyPr/>
        <a:lstStyle/>
        <a:p>
          <a:endParaRPr lang="en-US"/>
        </a:p>
      </dgm:t>
    </dgm:pt>
    <dgm:pt modelId="{BD011702-8998-41EE-B415-A8D2C315083E}" type="pres">
      <dgm:prSet presAssocID="{8CEB72ED-CD58-4818-9E18-1A7F39C30851}" presName="txThree" presStyleLbl="node3" presStyleIdx="29" presStyleCnt="82">
        <dgm:presLayoutVars>
          <dgm:chPref val="3"/>
        </dgm:presLayoutVars>
      </dgm:prSet>
      <dgm:spPr/>
      <dgm:t>
        <a:bodyPr/>
        <a:lstStyle/>
        <a:p>
          <a:endParaRPr lang="en-US"/>
        </a:p>
      </dgm:t>
    </dgm:pt>
    <dgm:pt modelId="{18BDEFA7-53FF-407E-9149-4BF5747BEC63}" type="pres">
      <dgm:prSet presAssocID="{8CEB72ED-CD58-4818-9E18-1A7F39C30851}" presName="horzThree" presStyleCnt="0"/>
      <dgm:spPr/>
      <dgm:t>
        <a:bodyPr/>
        <a:lstStyle/>
        <a:p>
          <a:endParaRPr lang="en-US"/>
        </a:p>
      </dgm:t>
    </dgm:pt>
    <dgm:pt modelId="{5F9E297C-853C-4C9A-9DCC-1831B536EF12}" type="pres">
      <dgm:prSet presAssocID="{BEE3F568-8E43-4681-A712-8A900700ABB5}" presName="sibSpaceThree" presStyleCnt="0"/>
      <dgm:spPr/>
      <dgm:t>
        <a:bodyPr/>
        <a:lstStyle/>
        <a:p>
          <a:endParaRPr lang="en-US"/>
        </a:p>
      </dgm:t>
    </dgm:pt>
    <dgm:pt modelId="{8EB62395-A95B-4E7C-9CAA-96132A0EE1F4}" type="pres">
      <dgm:prSet presAssocID="{65A9A385-2779-453E-8097-D1B6D4F42443}" presName="vertThree" presStyleCnt="0"/>
      <dgm:spPr/>
      <dgm:t>
        <a:bodyPr/>
        <a:lstStyle/>
        <a:p>
          <a:endParaRPr lang="en-US"/>
        </a:p>
      </dgm:t>
    </dgm:pt>
    <dgm:pt modelId="{F02FB910-ADDF-4AC5-A639-4073D8E42C11}" type="pres">
      <dgm:prSet presAssocID="{65A9A385-2779-453E-8097-D1B6D4F42443}" presName="txThree" presStyleLbl="node3" presStyleIdx="30" presStyleCnt="82">
        <dgm:presLayoutVars>
          <dgm:chPref val="3"/>
        </dgm:presLayoutVars>
      </dgm:prSet>
      <dgm:spPr/>
      <dgm:t>
        <a:bodyPr/>
        <a:lstStyle/>
        <a:p>
          <a:endParaRPr lang="en-US"/>
        </a:p>
      </dgm:t>
    </dgm:pt>
    <dgm:pt modelId="{BB9F3A77-68B3-4E41-8E17-7E0940E722A6}" type="pres">
      <dgm:prSet presAssocID="{65A9A385-2779-453E-8097-D1B6D4F42443}" presName="horzThree" presStyleCnt="0"/>
      <dgm:spPr/>
      <dgm:t>
        <a:bodyPr/>
        <a:lstStyle/>
        <a:p>
          <a:endParaRPr lang="en-US"/>
        </a:p>
      </dgm:t>
    </dgm:pt>
    <dgm:pt modelId="{0E342145-7130-4837-8487-6CC55109836D}" type="pres">
      <dgm:prSet presAssocID="{C1A12ECE-DA77-4B31-A546-07F862698EFA}" presName="sibSpaceThree" presStyleCnt="0"/>
      <dgm:spPr/>
      <dgm:t>
        <a:bodyPr/>
        <a:lstStyle/>
        <a:p>
          <a:endParaRPr lang="en-US"/>
        </a:p>
      </dgm:t>
    </dgm:pt>
    <dgm:pt modelId="{9960779A-1696-4654-8EDA-05F31A8B19B6}" type="pres">
      <dgm:prSet presAssocID="{72A2DB37-7175-47CD-BC01-118D5600554B}" presName="vertThree" presStyleCnt="0"/>
      <dgm:spPr/>
      <dgm:t>
        <a:bodyPr/>
        <a:lstStyle/>
        <a:p>
          <a:endParaRPr lang="en-US"/>
        </a:p>
      </dgm:t>
    </dgm:pt>
    <dgm:pt modelId="{9A6C5FE0-4D4B-452C-A8B5-F1E8995AC4EC}" type="pres">
      <dgm:prSet presAssocID="{72A2DB37-7175-47CD-BC01-118D5600554B}" presName="txThree" presStyleLbl="node3" presStyleIdx="31" presStyleCnt="82">
        <dgm:presLayoutVars>
          <dgm:chPref val="3"/>
        </dgm:presLayoutVars>
      </dgm:prSet>
      <dgm:spPr/>
      <dgm:t>
        <a:bodyPr/>
        <a:lstStyle/>
        <a:p>
          <a:endParaRPr lang="en-US"/>
        </a:p>
      </dgm:t>
    </dgm:pt>
    <dgm:pt modelId="{5DB22279-A2FD-4780-A375-46C7EB3C2846}" type="pres">
      <dgm:prSet presAssocID="{72A2DB37-7175-47CD-BC01-118D5600554B}" presName="horzThree" presStyleCnt="0"/>
      <dgm:spPr/>
      <dgm:t>
        <a:bodyPr/>
        <a:lstStyle/>
        <a:p>
          <a:endParaRPr lang="en-US"/>
        </a:p>
      </dgm:t>
    </dgm:pt>
    <dgm:pt modelId="{13752BB3-7DAD-42B9-B51C-345BAE94359B}" type="pres">
      <dgm:prSet presAssocID="{153EA82E-3FBC-4876-B492-3113C35F7C85}" presName="sibSpaceThree" presStyleCnt="0"/>
      <dgm:spPr/>
      <dgm:t>
        <a:bodyPr/>
        <a:lstStyle/>
        <a:p>
          <a:endParaRPr lang="en-US"/>
        </a:p>
      </dgm:t>
    </dgm:pt>
    <dgm:pt modelId="{C6025708-CA8E-4235-874C-F5B041D57495}" type="pres">
      <dgm:prSet presAssocID="{B785808B-5E4C-435D-A12C-B53A9F0772A8}" presName="vertThree" presStyleCnt="0"/>
      <dgm:spPr/>
      <dgm:t>
        <a:bodyPr/>
        <a:lstStyle/>
        <a:p>
          <a:endParaRPr lang="en-US"/>
        </a:p>
      </dgm:t>
    </dgm:pt>
    <dgm:pt modelId="{B417144F-D885-4962-80C5-215F38407005}" type="pres">
      <dgm:prSet presAssocID="{B785808B-5E4C-435D-A12C-B53A9F0772A8}" presName="txThree" presStyleLbl="node3" presStyleIdx="32" presStyleCnt="82">
        <dgm:presLayoutVars>
          <dgm:chPref val="3"/>
        </dgm:presLayoutVars>
      </dgm:prSet>
      <dgm:spPr/>
      <dgm:t>
        <a:bodyPr/>
        <a:lstStyle/>
        <a:p>
          <a:endParaRPr lang="en-US"/>
        </a:p>
      </dgm:t>
    </dgm:pt>
    <dgm:pt modelId="{0313D2EC-71B1-4A5C-95F0-E0F53773E964}" type="pres">
      <dgm:prSet presAssocID="{B785808B-5E4C-435D-A12C-B53A9F0772A8}" presName="horzThree" presStyleCnt="0"/>
      <dgm:spPr/>
      <dgm:t>
        <a:bodyPr/>
        <a:lstStyle/>
        <a:p>
          <a:endParaRPr lang="en-US"/>
        </a:p>
      </dgm:t>
    </dgm:pt>
    <dgm:pt modelId="{29BAF290-D3C7-4563-B7A8-15C438199C2D}" type="pres">
      <dgm:prSet presAssocID="{781B7B71-577D-4CC3-9A5F-4A981C5B1731}" presName="sibSpaceThree" presStyleCnt="0"/>
      <dgm:spPr/>
      <dgm:t>
        <a:bodyPr/>
        <a:lstStyle/>
        <a:p>
          <a:endParaRPr lang="en-US"/>
        </a:p>
      </dgm:t>
    </dgm:pt>
    <dgm:pt modelId="{436C0A21-1E10-4BE6-9227-E6EFA9FB3647}" type="pres">
      <dgm:prSet presAssocID="{A513F00B-9596-4CA9-8DBE-9691B926C9B0}" presName="vertThree" presStyleCnt="0"/>
      <dgm:spPr/>
      <dgm:t>
        <a:bodyPr/>
        <a:lstStyle/>
        <a:p>
          <a:endParaRPr lang="en-US"/>
        </a:p>
      </dgm:t>
    </dgm:pt>
    <dgm:pt modelId="{0BCA77FD-E046-461D-B327-59DCFFA6FD91}" type="pres">
      <dgm:prSet presAssocID="{A513F00B-9596-4CA9-8DBE-9691B926C9B0}" presName="txThree" presStyleLbl="node3" presStyleIdx="33" presStyleCnt="82">
        <dgm:presLayoutVars>
          <dgm:chPref val="3"/>
        </dgm:presLayoutVars>
      </dgm:prSet>
      <dgm:spPr/>
      <dgm:t>
        <a:bodyPr/>
        <a:lstStyle/>
        <a:p>
          <a:endParaRPr lang="en-US"/>
        </a:p>
      </dgm:t>
    </dgm:pt>
    <dgm:pt modelId="{EDD299AF-2993-4F72-B01D-35430E7F8918}" type="pres">
      <dgm:prSet presAssocID="{A513F00B-9596-4CA9-8DBE-9691B926C9B0}" presName="horzThree" presStyleCnt="0"/>
      <dgm:spPr/>
      <dgm:t>
        <a:bodyPr/>
        <a:lstStyle/>
        <a:p>
          <a:endParaRPr lang="en-US"/>
        </a:p>
      </dgm:t>
    </dgm:pt>
    <dgm:pt modelId="{79A42653-2B2B-4924-A6A8-E0E286BBE3BC}" type="pres">
      <dgm:prSet presAssocID="{34679CB8-F16D-4E1C-9F0D-DC0A54A38ADD}" presName="sibSpaceThree" presStyleCnt="0"/>
      <dgm:spPr/>
      <dgm:t>
        <a:bodyPr/>
        <a:lstStyle/>
        <a:p>
          <a:endParaRPr lang="en-US"/>
        </a:p>
      </dgm:t>
    </dgm:pt>
    <dgm:pt modelId="{73CF3309-0949-4101-9FF2-916A7865C8AA}" type="pres">
      <dgm:prSet presAssocID="{A4A80994-28F9-4EE8-89FD-45B63E089CC3}" presName="vertThree" presStyleCnt="0"/>
      <dgm:spPr/>
      <dgm:t>
        <a:bodyPr/>
        <a:lstStyle/>
        <a:p>
          <a:endParaRPr lang="en-US"/>
        </a:p>
      </dgm:t>
    </dgm:pt>
    <dgm:pt modelId="{48EF267A-E4C9-4877-83F8-DF0A4487535B}" type="pres">
      <dgm:prSet presAssocID="{A4A80994-28F9-4EE8-89FD-45B63E089CC3}" presName="txThree" presStyleLbl="node3" presStyleIdx="34" presStyleCnt="82">
        <dgm:presLayoutVars>
          <dgm:chPref val="3"/>
        </dgm:presLayoutVars>
      </dgm:prSet>
      <dgm:spPr/>
      <dgm:t>
        <a:bodyPr/>
        <a:lstStyle/>
        <a:p>
          <a:endParaRPr lang="en-US"/>
        </a:p>
      </dgm:t>
    </dgm:pt>
    <dgm:pt modelId="{9BEC1FBF-72AC-4A9A-9F0E-30F86A249A45}" type="pres">
      <dgm:prSet presAssocID="{A4A80994-28F9-4EE8-89FD-45B63E089CC3}" presName="horzThree" presStyleCnt="0"/>
      <dgm:spPr/>
      <dgm:t>
        <a:bodyPr/>
        <a:lstStyle/>
        <a:p>
          <a:endParaRPr lang="en-US"/>
        </a:p>
      </dgm:t>
    </dgm:pt>
    <dgm:pt modelId="{A2BCCE64-4791-4974-916C-E537F69DB4B3}" type="pres">
      <dgm:prSet presAssocID="{1B4BC288-7DF2-4B2F-9296-5E38C5F8398C}" presName="sibSpaceThree" presStyleCnt="0"/>
      <dgm:spPr/>
      <dgm:t>
        <a:bodyPr/>
        <a:lstStyle/>
        <a:p>
          <a:endParaRPr lang="en-US"/>
        </a:p>
      </dgm:t>
    </dgm:pt>
    <dgm:pt modelId="{80859865-207C-4122-9443-E0B0BB2B5936}" type="pres">
      <dgm:prSet presAssocID="{C71563D8-11EC-4FDC-9107-CA24E7C09704}" presName="vertThree" presStyleCnt="0"/>
      <dgm:spPr/>
      <dgm:t>
        <a:bodyPr/>
        <a:lstStyle/>
        <a:p>
          <a:endParaRPr lang="en-US"/>
        </a:p>
      </dgm:t>
    </dgm:pt>
    <dgm:pt modelId="{348ACDFD-AF55-4D90-B42C-2C91A33C3EE1}" type="pres">
      <dgm:prSet presAssocID="{C71563D8-11EC-4FDC-9107-CA24E7C09704}" presName="txThree" presStyleLbl="node3" presStyleIdx="35" presStyleCnt="82">
        <dgm:presLayoutVars>
          <dgm:chPref val="3"/>
        </dgm:presLayoutVars>
      </dgm:prSet>
      <dgm:spPr/>
      <dgm:t>
        <a:bodyPr/>
        <a:lstStyle/>
        <a:p>
          <a:endParaRPr lang="en-US"/>
        </a:p>
      </dgm:t>
    </dgm:pt>
    <dgm:pt modelId="{3F07AFDE-6ED2-421E-9616-E96E213F9AD6}" type="pres">
      <dgm:prSet presAssocID="{C71563D8-11EC-4FDC-9107-CA24E7C09704}" presName="horzThree" presStyleCnt="0"/>
      <dgm:spPr/>
      <dgm:t>
        <a:bodyPr/>
        <a:lstStyle/>
        <a:p>
          <a:endParaRPr lang="en-US"/>
        </a:p>
      </dgm:t>
    </dgm:pt>
    <dgm:pt modelId="{CD965B64-29EC-4EED-8DBE-F338D87A8B06}" type="pres">
      <dgm:prSet presAssocID="{E0FF60A9-B53D-4E45-B340-D613B834205A}" presName="sibSpaceTwo" presStyleCnt="0"/>
      <dgm:spPr/>
      <dgm:t>
        <a:bodyPr/>
        <a:lstStyle/>
        <a:p>
          <a:endParaRPr lang="en-US"/>
        </a:p>
      </dgm:t>
    </dgm:pt>
    <dgm:pt modelId="{92005B25-5105-4921-803A-2C136E0746C1}" type="pres">
      <dgm:prSet presAssocID="{CBD617BF-5B0F-44E8-8D5D-86AE9D05B5AA}" presName="vertTwo" presStyleCnt="0"/>
      <dgm:spPr/>
      <dgm:t>
        <a:bodyPr/>
        <a:lstStyle/>
        <a:p>
          <a:endParaRPr lang="en-US"/>
        </a:p>
      </dgm:t>
    </dgm:pt>
    <dgm:pt modelId="{9E8A0697-F9F0-4264-AC3A-FA37DF543CBD}" type="pres">
      <dgm:prSet presAssocID="{CBD617BF-5B0F-44E8-8D5D-86AE9D05B5AA}" presName="txTwo" presStyleLbl="node2" presStyleIdx="2" presStyleCnt="6">
        <dgm:presLayoutVars>
          <dgm:chPref val="3"/>
        </dgm:presLayoutVars>
      </dgm:prSet>
      <dgm:spPr/>
      <dgm:t>
        <a:bodyPr/>
        <a:lstStyle/>
        <a:p>
          <a:endParaRPr lang="en-US"/>
        </a:p>
      </dgm:t>
    </dgm:pt>
    <dgm:pt modelId="{391AA9C1-7124-41BF-94B6-C1D05318FDEC}" type="pres">
      <dgm:prSet presAssocID="{CBD617BF-5B0F-44E8-8D5D-86AE9D05B5AA}" presName="parTransTwo" presStyleCnt="0"/>
      <dgm:spPr/>
      <dgm:t>
        <a:bodyPr/>
        <a:lstStyle/>
        <a:p>
          <a:endParaRPr lang="en-US"/>
        </a:p>
      </dgm:t>
    </dgm:pt>
    <dgm:pt modelId="{DE608AC5-3103-4527-9C56-EE59A40E0258}" type="pres">
      <dgm:prSet presAssocID="{CBD617BF-5B0F-44E8-8D5D-86AE9D05B5AA}" presName="horzTwo" presStyleCnt="0"/>
      <dgm:spPr/>
      <dgm:t>
        <a:bodyPr/>
        <a:lstStyle/>
        <a:p>
          <a:endParaRPr lang="en-US"/>
        </a:p>
      </dgm:t>
    </dgm:pt>
    <dgm:pt modelId="{3ACE30A9-B7A2-4D60-96E1-3EBF027DD29D}" type="pres">
      <dgm:prSet presAssocID="{C1767B94-BBE7-4919-A83B-39C49EBB95CF}" presName="vertThree" presStyleCnt="0"/>
      <dgm:spPr/>
      <dgm:t>
        <a:bodyPr/>
        <a:lstStyle/>
        <a:p>
          <a:endParaRPr lang="en-US"/>
        </a:p>
      </dgm:t>
    </dgm:pt>
    <dgm:pt modelId="{C9764691-399A-46B8-9CBE-03F2950E5EE6}" type="pres">
      <dgm:prSet presAssocID="{C1767B94-BBE7-4919-A83B-39C49EBB95CF}" presName="txThree" presStyleLbl="node3" presStyleIdx="36" presStyleCnt="82">
        <dgm:presLayoutVars>
          <dgm:chPref val="3"/>
        </dgm:presLayoutVars>
      </dgm:prSet>
      <dgm:spPr/>
      <dgm:t>
        <a:bodyPr/>
        <a:lstStyle/>
        <a:p>
          <a:endParaRPr lang="en-US"/>
        </a:p>
      </dgm:t>
    </dgm:pt>
    <dgm:pt modelId="{5D34EA67-5830-4C3D-ABFE-E0010566F6C1}" type="pres">
      <dgm:prSet presAssocID="{C1767B94-BBE7-4919-A83B-39C49EBB95CF}" presName="horzThree" presStyleCnt="0"/>
      <dgm:spPr/>
      <dgm:t>
        <a:bodyPr/>
        <a:lstStyle/>
        <a:p>
          <a:endParaRPr lang="en-US"/>
        </a:p>
      </dgm:t>
    </dgm:pt>
    <dgm:pt modelId="{F5127EB5-FF03-46D7-9F99-751ED12AA30F}" type="pres">
      <dgm:prSet presAssocID="{E7F430CB-288E-4587-9D2A-CE28D6DD2807}" presName="sibSpaceThree" presStyleCnt="0"/>
      <dgm:spPr/>
      <dgm:t>
        <a:bodyPr/>
        <a:lstStyle/>
        <a:p>
          <a:endParaRPr lang="en-US"/>
        </a:p>
      </dgm:t>
    </dgm:pt>
    <dgm:pt modelId="{CC8C638F-8FF2-441E-B4E6-DAD0701C1E8C}" type="pres">
      <dgm:prSet presAssocID="{556A9ECF-4736-4089-931B-49850BA7C3CA}" presName="vertThree" presStyleCnt="0"/>
      <dgm:spPr/>
      <dgm:t>
        <a:bodyPr/>
        <a:lstStyle/>
        <a:p>
          <a:endParaRPr lang="en-US"/>
        </a:p>
      </dgm:t>
    </dgm:pt>
    <dgm:pt modelId="{E4D8F296-6C55-4120-9CC3-EECCB900B234}" type="pres">
      <dgm:prSet presAssocID="{556A9ECF-4736-4089-931B-49850BA7C3CA}" presName="txThree" presStyleLbl="node3" presStyleIdx="37" presStyleCnt="82">
        <dgm:presLayoutVars>
          <dgm:chPref val="3"/>
        </dgm:presLayoutVars>
      </dgm:prSet>
      <dgm:spPr/>
      <dgm:t>
        <a:bodyPr/>
        <a:lstStyle/>
        <a:p>
          <a:endParaRPr lang="en-US"/>
        </a:p>
      </dgm:t>
    </dgm:pt>
    <dgm:pt modelId="{4350315A-352C-4422-9264-1E31064EE5FB}" type="pres">
      <dgm:prSet presAssocID="{556A9ECF-4736-4089-931B-49850BA7C3CA}" presName="horzThree" presStyleCnt="0"/>
      <dgm:spPr/>
      <dgm:t>
        <a:bodyPr/>
        <a:lstStyle/>
        <a:p>
          <a:endParaRPr lang="en-US"/>
        </a:p>
      </dgm:t>
    </dgm:pt>
    <dgm:pt modelId="{73BEC115-3167-4626-9465-E3D73DB1A433}" type="pres">
      <dgm:prSet presAssocID="{7A111E2E-7ED1-4FD3-8601-90ADCF143A1C}" presName="sibSpaceThree" presStyleCnt="0"/>
      <dgm:spPr/>
      <dgm:t>
        <a:bodyPr/>
        <a:lstStyle/>
        <a:p>
          <a:endParaRPr lang="en-US"/>
        </a:p>
      </dgm:t>
    </dgm:pt>
    <dgm:pt modelId="{AADD06C5-01FC-43BC-83F2-200E03458C9C}" type="pres">
      <dgm:prSet presAssocID="{0C23D059-1E68-4F6A-96A1-26F7B8211E04}" presName="vertThree" presStyleCnt="0"/>
      <dgm:spPr/>
      <dgm:t>
        <a:bodyPr/>
        <a:lstStyle/>
        <a:p>
          <a:endParaRPr lang="en-US"/>
        </a:p>
      </dgm:t>
    </dgm:pt>
    <dgm:pt modelId="{D0B21097-AD73-408B-8FDD-9A39020FFE01}" type="pres">
      <dgm:prSet presAssocID="{0C23D059-1E68-4F6A-96A1-26F7B8211E04}" presName="txThree" presStyleLbl="node3" presStyleIdx="38" presStyleCnt="82">
        <dgm:presLayoutVars>
          <dgm:chPref val="3"/>
        </dgm:presLayoutVars>
      </dgm:prSet>
      <dgm:spPr/>
      <dgm:t>
        <a:bodyPr/>
        <a:lstStyle/>
        <a:p>
          <a:endParaRPr lang="en-US"/>
        </a:p>
      </dgm:t>
    </dgm:pt>
    <dgm:pt modelId="{CD599282-5AD4-4DE9-A535-6FC4293407A4}" type="pres">
      <dgm:prSet presAssocID="{0C23D059-1E68-4F6A-96A1-26F7B8211E04}" presName="horzThree" presStyleCnt="0"/>
      <dgm:spPr/>
      <dgm:t>
        <a:bodyPr/>
        <a:lstStyle/>
        <a:p>
          <a:endParaRPr lang="en-US"/>
        </a:p>
      </dgm:t>
    </dgm:pt>
    <dgm:pt modelId="{E6D47874-D175-4EF1-997D-622A01C9F4FE}" type="pres">
      <dgm:prSet presAssocID="{044A91DE-01DA-407B-A821-A47F76523ED9}" presName="sibSpaceThree" presStyleCnt="0"/>
      <dgm:spPr/>
      <dgm:t>
        <a:bodyPr/>
        <a:lstStyle/>
        <a:p>
          <a:endParaRPr lang="en-US"/>
        </a:p>
      </dgm:t>
    </dgm:pt>
    <dgm:pt modelId="{16C74A06-D3BF-449E-B2CE-405F47F720DB}" type="pres">
      <dgm:prSet presAssocID="{C0E1F3A0-2007-41F8-902D-FB88A77A945B}" presName="vertThree" presStyleCnt="0"/>
      <dgm:spPr/>
      <dgm:t>
        <a:bodyPr/>
        <a:lstStyle/>
        <a:p>
          <a:endParaRPr lang="en-US"/>
        </a:p>
      </dgm:t>
    </dgm:pt>
    <dgm:pt modelId="{5A45FCE3-666C-4E83-A602-3DA331060D34}" type="pres">
      <dgm:prSet presAssocID="{C0E1F3A0-2007-41F8-902D-FB88A77A945B}" presName="txThree" presStyleLbl="node3" presStyleIdx="39" presStyleCnt="82">
        <dgm:presLayoutVars>
          <dgm:chPref val="3"/>
        </dgm:presLayoutVars>
      </dgm:prSet>
      <dgm:spPr/>
      <dgm:t>
        <a:bodyPr/>
        <a:lstStyle/>
        <a:p>
          <a:endParaRPr lang="en-US"/>
        </a:p>
      </dgm:t>
    </dgm:pt>
    <dgm:pt modelId="{AACAF41B-7CEC-499D-A4AD-1E83D795E5E0}" type="pres">
      <dgm:prSet presAssocID="{C0E1F3A0-2007-41F8-902D-FB88A77A945B}" presName="horzThree" presStyleCnt="0"/>
      <dgm:spPr/>
      <dgm:t>
        <a:bodyPr/>
        <a:lstStyle/>
        <a:p>
          <a:endParaRPr lang="en-US"/>
        </a:p>
      </dgm:t>
    </dgm:pt>
    <dgm:pt modelId="{90C5A305-8659-4909-8A0A-DE51DC4BD6D5}" type="pres">
      <dgm:prSet presAssocID="{D2D31650-1528-44AE-A801-E454ECD32CFD}" presName="sibSpaceThree" presStyleCnt="0"/>
      <dgm:spPr/>
      <dgm:t>
        <a:bodyPr/>
        <a:lstStyle/>
        <a:p>
          <a:endParaRPr lang="en-US"/>
        </a:p>
      </dgm:t>
    </dgm:pt>
    <dgm:pt modelId="{9D814B1F-5368-48B8-A377-5BD0C71FE9A4}" type="pres">
      <dgm:prSet presAssocID="{12FA561E-BEFF-41C5-8E21-C497F342100B}" presName="vertThree" presStyleCnt="0"/>
      <dgm:spPr/>
      <dgm:t>
        <a:bodyPr/>
        <a:lstStyle/>
        <a:p>
          <a:endParaRPr lang="en-US"/>
        </a:p>
      </dgm:t>
    </dgm:pt>
    <dgm:pt modelId="{12DD6C6F-513C-4012-9B4F-FA36FB27D4FA}" type="pres">
      <dgm:prSet presAssocID="{12FA561E-BEFF-41C5-8E21-C497F342100B}" presName="txThree" presStyleLbl="node3" presStyleIdx="40" presStyleCnt="82">
        <dgm:presLayoutVars>
          <dgm:chPref val="3"/>
        </dgm:presLayoutVars>
      </dgm:prSet>
      <dgm:spPr/>
      <dgm:t>
        <a:bodyPr/>
        <a:lstStyle/>
        <a:p>
          <a:endParaRPr lang="en-US"/>
        </a:p>
      </dgm:t>
    </dgm:pt>
    <dgm:pt modelId="{5BD8EB89-8503-4012-A5ED-1F0830A7C9D7}" type="pres">
      <dgm:prSet presAssocID="{12FA561E-BEFF-41C5-8E21-C497F342100B}" presName="horzThree" presStyleCnt="0"/>
      <dgm:spPr/>
      <dgm:t>
        <a:bodyPr/>
        <a:lstStyle/>
        <a:p>
          <a:endParaRPr lang="en-US"/>
        </a:p>
      </dgm:t>
    </dgm:pt>
    <dgm:pt modelId="{98329723-CAB9-4C9B-B04A-3FB1A0173119}" type="pres">
      <dgm:prSet presAssocID="{C39AB9AE-2070-478C-9916-998D7688669F}" presName="sibSpaceThree" presStyleCnt="0"/>
      <dgm:spPr/>
      <dgm:t>
        <a:bodyPr/>
        <a:lstStyle/>
        <a:p>
          <a:endParaRPr lang="en-US"/>
        </a:p>
      </dgm:t>
    </dgm:pt>
    <dgm:pt modelId="{D9C431C5-4434-429B-97B6-D01D759960C8}" type="pres">
      <dgm:prSet presAssocID="{1E014006-3D55-4EE5-AD4E-479CD8866008}" presName="vertThree" presStyleCnt="0"/>
      <dgm:spPr/>
      <dgm:t>
        <a:bodyPr/>
        <a:lstStyle/>
        <a:p>
          <a:endParaRPr lang="en-US"/>
        </a:p>
      </dgm:t>
    </dgm:pt>
    <dgm:pt modelId="{4EF2B9A6-53D0-4783-8B94-73BB016716C4}" type="pres">
      <dgm:prSet presAssocID="{1E014006-3D55-4EE5-AD4E-479CD8866008}" presName="txThree" presStyleLbl="node3" presStyleIdx="41" presStyleCnt="82">
        <dgm:presLayoutVars>
          <dgm:chPref val="3"/>
        </dgm:presLayoutVars>
      </dgm:prSet>
      <dgm:spPr/>
      <dgm:t>
        <a:bodyPr/>
        <a:lstStyle/>
        <a:p>
          <a:endParaRPr lang="en-US"/>
        </a:p>
      </dgm:t>
    </dgm:pt>
    <dgm:pt modelId="{140374C3-1986-43E2-A232-86FAE1DEC194}" type="pres">
      <dgm:prSet presAssocID="{1E014006-3D55-4EE5-AD4E-479CD8866008}" presName="horzThree" presStyleCnt="0"/>
      <dgm:spPr/>
      <dgm:t>
        <a:bodyPr/>
        <a:lstStyle/>
        <a:p>
          <a:endParaRPr lang="en-US"/>
        </a:p>
      </dgm:t>
    </dgm:pt>
    <dgm:pt modelId="{90481FCC-573F-498A-8E2A-3F514F73E17C}" type="pres">
      <dgm:prSet presAssocID="{2B1A5490-387D-4F75-B281-7AA524293143}" presName="sibSpaceThree" presStyleCnt="0"/>
      <dgm:spPr/>
      <dgm:t>
        <a:bodyPr/>
        <a:lstStyle/>
        <a:p>
          <a:endParaRPr lang="en-US"/>
        </a:p>
      </dgm:t>
    </dgm:pt>
    <dgm:pt modelId="{BF8AFE0D-B4C5-4F5A-ADED-552A63B60E1A}" type="pres">
      <dgm:prSet presAssocID="{9A48FB60-8B1C-4DF6-A844-47408D5A166C}" presName="vertThree" presStyleCnt="0"/>
      <dgm:spPr/>
      <dgm:t>
        <a:bodyPr/>
        <a:lstStyle/>
        <a:p>
          <a:endParaRPr lang="en-US"/>
        </a:p>
      </dgm:t>
    </dgm:pt>
    <dgm:pt modelId="{4B29C9AA-6D44-4047-84B4-7082061779FB}" type="pres">
      <dgm:prSet presAssocID="{9A48FB60-8B1C-4DF6-A844-47408D5A166C}" presName="txThree" presStyleLbl="node3" presStyleIdx="42" presStyleCnt="82">
        <dgm:presLayoutVars>
          <dgm:chPref val="3"/>
        </dgm:presLayoutVars>
      </dgm:prSet>
      <dgm:spPr/>
      <dgm:t>
        <a:bodyPr/>
        <a:lstStyle/>
        <a:p>
          <a:endParaRPr lang="en-US"/>
        </a:p>
      </dgm:t>
    </dgm:pt>
    <dgm:pt modelId="{600ED7D1-0C51-4DEA-AAAA-6249229EA8D4}" type="pres">
      <dgm:prSet presAssocID="{9A48FB60-8B1C-4DF6-A844-47408D5A166C}" presName="horzThree" presStyleCnt="0"/>
      <dgm:spPr/>
      <dgm:t>
        <a:bodyPr/>
        <a:lstStyle/>
        <a:p>
          <a:endParaRPr lang="en-US"/>
        </a:p>
      </dgm:t>
    </dgm:pt>
    <dgm:pt modelId="{F137E4D7-0A87-4890-B17E-796CAC26493D}" type="pres">
      <dgm:prSet presAssocID="{6C0656F4-2284-4DC9-ACDD-F1BDCBE6F919}" presName="sibSpaceThree" presStyleCnt="0"/>
      <dgm:spPr/>
      <dgm:t>
        <a:bodyPr/>
        <a:lstStyle/>
        <a:p>
          <a:endParaRPr lang="en-US"/>
        </a:p>
      </dgm:t>
    </dgm:pt>
    <dgm:pt modelId="{34B2B9C0-F85E-4AA7-992F-90FBAC5CB64D}" type="pres">
      <dgm:prSet presAssocID="{4D270442-3445-4A52-A0F8-BD7165E237CF}" presName="vertThree" presStyleCnt="0"/>
      <dgm:spPr/>
      <dgm:t>
        <a:bodyPr/>
        <a:lstStyle/>
        <a:p>
          <a:endParaRPr lang="en-US"/>
        </a:p>
      </dgm:t>
    </dgm:pt>
    <dgm:pt modelId="{8E083001-C032-4940-BBB7-4639385EAAB9}" type="pres">
      <dgm:prSet presAssocID="{4D270442-3445-4A52-A0F8-BD7165E237CF}" presName="txThree" presStyleLbl="node3" presStyleIdx="43" presStyleCnt="82">
        <dgm:presLayoutVars>
          <dgm:chPref val="3"/>
        </dgm:presLayoutVars>
      </dgm:prSet>
      <dgm:spPr/>
      <dgm:t>
        <a:bodyPr/>
        <a:lstStyle/>
        <a:p>
          <a:endParaRPr lang="en-US"/>
        </a:p>
      </dgm:t>
    </dgm:pt>
    <dgm:pt modelId="{34CDE988-DAC9-4C8D-8185-CB167B4F41C5}" type="pres">
      <dgm:prSet presAssocID="{4D270442-3445-4A52-A0F8-BD7165E237CF}" presName="horzThree" presStyleCnt="0"/>
      <dgm:spPr/>
      <dgm:t>
        <a:bodyPr/>
        <a:lstStyle/>
        <a:p>
          <a:endParaRPr lang="en-US"/>
        </a:p>
      </dgm:t>
    </dgm:pt>
    <dgm:pt modelId="{972A8210-1BE4-4F63-AB46-5A4DA62C3430}" type="pres">
      <dgm:prSet presAssocID="{8D535F41-A26A-4F0E-9B06-A34102D318F1}" presName="sibSpaceThree" presStyleCnt="0"/>
      <dgm:spPr/>
      <dgm:t>
        <a:bodyPr/>
        <a:lstStyle/>
        <a:p>
          <a:endParaRPr lang="en-US"/>
        </a:p>
      </dgm:t>
    </dgm:pt>
    <dgm:pt modelId="{CD37CDA7-0632-4C9F-8602-1641C896100A}" type="pres">
      <dgm:prSet presAssocID="{1F94D81B-9139-4C7D-8A25-C6E46482E30F}" presName="vertThree" presStyleCnt="0"/>
      <dgm:spPr/>
      <dgm:t>
        <a:bodyPr/>
        <a:lstStyle/>
        <a:p>
          <a:endParaRPr lang="en-US"/>
        </a:p>
      </dgm:t>
    </dgm:pt>
    <dgm:pt modelId="{49BA51C3-9D30-4100-8F31-B6B14D1A800A}" type="pres">
      <dgm:prSet presAssocID="{1F94D81B-9139-4C7D-8A25-C6E46482E30F}" presName="txThree" presStyleLbl="node3" presStyleIdx="44" presStyleCnt="82">
        <dgm:presLayoutVars>
          <dgm:chPref val="3"/>
        </dgm:presLayoutVars>
      </dgm:prSet>
      <dgm:spPr/>
      <dgm:t>
        <a:bodyPr/>
        <a:lstStyle/>
        <a:p>
          <a:endParaRPr lang="en-US"/>
        </a:p>
      </dgm:t>
    </dgm:pt>
    <dgm:pt modelId="{01335C75-33FD-48DB-B5C8-0E3DC3353ED4}" type="pres">
      <dgm:prSet presAssocID="{1F94D81B-9139-4C7D-8A25-C6E46482E30F}" presName="horzThree" presStyleCnt="0"/>
      <dgm:spPr/>
      <dgm:t>
        <a:bodyPr/>
        <a:lstStyle/>
        <a:p>
          <a:endParaRPr lang="en-US"/>
        </a:p>
      </dgm:t>
    </dgm:pt>
    <dgm:pt modelId="{F1F83949-76D9-4D81-B986-16663AF74654}" type="pres">
      <dgm:prSet presAssocID="{1F3CC8A2-FC03-4D00-833F-9432B9F26FEE}" presName="sibSpaceThree" presStyleCnt="0"/>
      <dgm:spPr/>
      <dgm:t>
        <a:bodyPr/>
        <a:lstStyle/>
        <a:p>
          <a:endParaRPr lang="en-US"/>
        </a:p>
      </dgm:t>
    </dgm:pt>
    <dgm:pt modelId="{502B2CCA-ED6A-412C-86DF-ACFE713B84AA}" type="pres">
      <dgm:prSet presAssocID="{6B4982F5-093E-4942-BADB-5FDD2C8D2469}" presName="vertThree" presStyleCnt="0"/>
      <dgm:spPr/>
      <dgm:t>
        <a:bodyPr/>
        <a:lstStyle/>
        <a:p>
          <a:endParaRPr lang="en-US"/>
        </a:p>
      </dgm:t>
    </dgm:pt>
    <dgm:pt modelId="{2678433E-7686-4479-B0F5-4CE0AB8AB526}" type="pres">
      <dgm:prSet presAssocID="{6B4982F5-093E-4942-BADB-5FDD2C8D2469}" presName="txThree" presStyleLbl="node3" presStyleIdx="45" presStyleCnt="82">
        <dgm:presLayoutVars>
          <dgm:chPref val="3"/>
        </dgm:presLayoutVars>
      </dgm:prSet>
      <dgm:spPr/>
      <dgm:t>
        <a:bodyPr/>
        <a:lstStyle/>
        <a:p>
          <a:endParaRPr lang="en-US"/>
        </a:p>
      </dgm:t>
    </dgm:pt>
    <dgm:pt modelId="{705B6838-BF86-4BB8-9FF7-501435F50E95}" type="pres">
      <dgm:prSet presAssocID="{6B4982F5-093E-4942-BADB-5FDD2C8D2469}" presName="horzThree" presStyleCnt="0"/>
      <dgm:spPr/>
      <dgm:t>
        <a:bodyPr/>
        <a:lstStyle/>
        <a:p>
          <a:endParaRPr lang="en-US"/>
        </a:p>
      </dgm:t>
    </dgm:pt>
    <dgm:pt modelId="{A540046A-6A20-4ECC-BEF3-7F805BC8CEFB}" type="pres">
      <dgm:prSet presAssocID="{38C83C95-F7D1-43FA-9CF7-647DA21B46D5}" presName="sibSpaceThree" presStyleCnt="0"/>
      <dgm:spPr/>
      <dgm:t>
        <a:bodyPr/>
        <a:lstStyle/>
        <a:p>
          <a:endParaRPr lang="en-US"/>
        </a:p>
      </dgm:t>
    </dgm:pt>
    <dgm:pt modelId="{934833F5-4A08-4885-8344-973D1A32C516}" type="pres">
      <dgm:prSet presAssocID="{24961BA2-9A7D-4EC1-9A2C-9B93647E0C4E}" presName="vertThree" presStyleCnt="0"/>
      <dgm:spPr/>
      <dgm:t>
        <a:bodyPr/>
        <a:lstStyle/>
        <a:p>
          <a:endParaRPr lang="en-US"/>
        </a:p>
      </dgm:t>
    </dgm:pt>
    <dgm:pt modelId="{E4D9EA3B-9C88-4EF8-A936-DC96839989A3}" type="pres">
      <dgm:prSet presAssocID="{24961BA2-9A7D-4EC1-9A2C-9B93647E0C4E}" presName="txThree" presStyleLbl="node3" presStyleIdx="46" presStyleCnt="82">
        <dgm:presLayoutVars>
          <dgm:chPref val="3"/>
        </dgm:presLayoutVars>
      </dgm:prSet>
      <dgm:spPr/>
      <dgm:t>
        <a:bodyPr/>
        <a:lstStyle/>
        <a:p>
          <a:endParaRPr lang="en-US"/>
        </a:p>
      </dgm:t>
    </dgm:pt>
    <dgm:pt modelId="{F8F9FD21-7E98-4A3F-B02F-A48EB3DBFCE6}" type="pres">
      <dgm:prSet presAssocID="{24961BA2-9A7D-4EC1-9A2C-9B93647E0C4E}" presName="horzThree" presStyleCnt="0"/>
      <dgm:spPr/>
      <dgm:t>
        <a:bodyPr/>
        <a:lstStyle/>
        <a:p>
          <a:endParaRPr lang="en-US"/>
        </a:p>
      </dgm:t>
    </dgm:pt>
    <dgm:pt modelId="{9024C162-1FA2-4846-AF7A-91E6A1EAEFA8}" type="pres">
      <dgm:prSet presAssocID="{1BE4D8AC-F2BD-4C88-AB9B-DB49DAE5E4A9}" presName="sibSpaceThree" presStyleCnt="0"/>
      <dgm:spPr/>
      <dgm:t>
        <a:bodyPr/>
        <a:lstStyle/>
        <a:p>
          <a:endParaRPr lang="en-US"/>
        </a:p>
      </dgm:t>
    </dgm:pt>
    <dgm:pt modelId="{12D92C7D-4915-4564-9F22-7C5D759DEB48}" type="pres">
      <dgm:prSet presAssocID="{F7CB1295-B28E-435A-802B-E35289FFD3F1}" presName="vertThree" presStyleCnt="0"/>
      <dgm:spPr/>
      <dgm:t>
        <a:bodyPr/>
        <a:lstStyle/>
        <a:p>
          <a:endParaRPr lang="en-US"/>
        </a:p>
      </dgm:t>
    </dgm:pt>
    <dgm:pt modelId="{3D71B88A-A5D7-4A20-BDFB-2825F272DFB1}" type="pres">
      <dgm:prSet presAssocID="{F7CB1295-B28E-435A-802B-E35289FFD3F1}" presName="txThree" presStyleLbl="node3" presStyleIdx="47" presStyleCnt="82">
        <dgm:presLayoutVars>
          <dgm:chPref val="3"/>
        </dgm:presLayoutVars>
      </dgm:prSet>
      <dgm:spPr/>
      <dgm:t>
        <a:bodyPr/>
        <a:lstStyle/>
        <a:p>
          <a:endParaRPr lang="en-US"/>
        </a:p>
      </dgm:t>
    </dgm:pt>
    <dgm:pt modelId="{0E71787E-AA88-4489-917E-29556359DF05}" type="pres">
      <dgm:prSet presAssocID="{F7CB1295-B28E-435A-802B-E35289FFD3F1}" presName="horzThree" presStyleCnt="0"/>
      <dgm:spPr/>
      <dgm:t>
        <a:bodyPr/>
        <a:lstStyle/>
        <a:p>
          <a:endParaRPr lang="en-US"/>
        </a:p>
      </dgm:t>
    </dgm:pt>
    <dgm:pt modelId="{4FEBD794-9A5E-4884-9DDE-D1F9667CED8E}" type="pres">
      <dgm:prSet presAssocID="{79B9C237-D330-469E-80A7-57782AA31FE5}" presName="sibSpaceThree" presStyleCnt="0"/>
      <dgm:spPr/>
      <dgm:t>
        <a:bodyPr/>
        <a:lstStyle/>
        <a:p>
          <a:endParaRPr lang="en-US"/>
        </a:p>
      </dgm:t>
    </dgm:pt>
    <dgm:pt modelId="{EDAF75E9-606B-43AD-96BF-83136BB702BB}" type="pres">
      <dgm:prSet presAssocID="{B6A8E937-0DD2-4105-8D62-061DD73BD8C7}" presName="vertThree" presStyleCnt="0"/>
      <dgm:spPr/>
      <dgm:t>
        <a:bodyPr/>
        <a:lstStyle/>
        <a:p>
          <a:endParaRPr lang="en-US"/>
        </a:p>
      </dgm:t>
    </dgm:pt>
    <dgm:pt modelId="{6DB7A01E-0D13-40A6-9A12-6510D1C6BE60}" type="pres">
      <dgm:prSet presAssocID="{B6A8E937-0DD2-4105-8D62-061DD73BD8C7}" presName="txThree" presStyleLbl="node3" presStyleIdx="48" presStyleCnt="82">
        <dgm:presLayoutVars>
          <dgm:chPref val="3"/>
        </dgm:presLayoutVars>
      </dgm:prSet>
      <dgm:spPr/>
      <dgm:t>
        <a:bodyPr/>
        <a:lstStyle/>
        <a:p>
          <a:endParaRPr lang="en-US"/>
        </a:p>
      </dgm:t>
    </dgm:pt>
    <dgm:pt modelId="{2FEEE2BA-190D-4F3C-A3B7-98B59CE9F01B}" type="pres">
      <dgm:prSet presAssocID="{B6A8E937-0DD2-4105-8D62-061DD73BD8C7}" presName="horzThree" presStyleCnt="0"/>
      <dgm:spPr/>
      <dgm:t>
        <a:bodyPr/>
        <a:lstStyle/>
        <a:p>
          <a:endParaRPr lang="en-US"/>
        </a:p>
      </dgm:t>
    </dgm:pt>
    <dgm:pt modelId="{C6966954-AC96-480E-BE09-370FB5BAAC42}" type="pres">
      <dgm:prSet presAssocID="{76ABE6DB-C970-4D7A-BDFC-125627B38830}" presName="sibSpaceThree" presStyleCnt="0"/>
      <dgm:spPr/>
      <dgm:t>
        <a:bodyPr/>
        <a:lstStyle/>
        <a:p>
          <a:endParaRPr lang="en-US"/>
        </a:p>
      </dgm:t>
    </dgm:pt>
    <dgm:pt modelId="{650F699E-3BC1-4FE5-8D0A-2F58927B2A8B}" type="pres">
      <dgm:prSet presAssocID="{99517A22-4718-4F66-9A55-934AD0B68D90}" presName="vertThree" presStyleCnt="0"/>
      <dgm:spPr/>
      <dgm:t>
        <a:bodyPr/>
        <a:lstStyle/>
        <a:p>
          <a:endParaRPr lang="en-US"/>
        </a:p>
      </dgm:t>
    </dgm:pt>
    <dgm:pt modelId="{7659B58F-472D-49E2-9DC7-E64F55706520}" type="pres">
      <dgm:prSet presAssocID="{99517A22-4718-4F66-9A55-934AD0B68D90}" presName="txThree" presStyleLbl="node3" presStyleIdx="49" presStyleCnt="82">
        <dgm:presLayoutVars>
          <dgm:chPref val="3"/>
        </dgm:presLayoutVars>
      </dgm:prSet>
      <dgm:spPr/>
      <dgm:t>
        <a:bodyPr/>
        <a:lstStyle/>
        <a:p>
          <a:endParaRPr lang="en-US"/>
        </a:p>
      </dgm:t>
    </dgm:pt>
    <dgm:pt modelId="{F0FB0D16-90FE-4337-A515-EB69CA54302F}" type="pres">
      <dgm:prSet presAssocID="{99517A22-4718-4F66-9A55-934AD0B68D90}" presName="horzThree" presStyleCnt="0"/>
      <dgm:spPr/>
      <dgm:t>
        <a:bodyPr/>
        <a:lstStyle/>
        <a:p>
          <a:endParaRPr lang="en-US"/>
        </a:p>
      </dgm:t>
    </dgm:pt>
    <dgm:pt modelId="{200968F2-C6C7-4AD2-A808-01A8479C48C9}" type="pres">
      <dgm:prSet presAssocID="{31D12949-E409-473C-956C-9B7F123BFA0B}" presName="sibSpaceThree" presStyleCnt="0"/>
      <dgm:spPr/>
      <dgm:t>
        <a:bodyPr/>
        <a:lstStyle/>
        <a:p>
          <a:endParaRPr lang="en-US"/>
        </a:p>
      </dgm:t>
    </dgm:pt>
    <dgm:pt modelId="{E8DEF180-C0AC-4634-8C49-E1D8CA7A13D2}" type="pres">
      <dgm:prSet presAssocID="{5EE9F4C9-2599-49B6-8ECD-0BB37D2C3F87}" presName="vertThree" presStyleCnt="0"/>
      <dgm:spPr/>
      <dgm:t>
        <a:bodyPr/>
        <a:lstStyle/>
        <a:p>
          <a:endParaRPr lang="en-US"/>
        </a:p>
      </dgm:t>
    </dgm:pt>
    <dgm:pt modelId="{981B53A0-BE63-4441-BE65-954B3C83BA2A}" type="pres">
      <dgm:prSet presAssocID="{5EE9F4C9-2599-49B6-8ECD-0BB37D2C3F87}" presName="txThree" presStyleLbl="node3" presStyleIdx="50" presStyleCnt="82">
        <dgm:presLayoutVars>
          <dgm:chPref val="3"/>
        </dgm:presLayoutVars>
      </dgm:prSet>
      <dgm:spPr/>
      <dgm:t>
        <a:bodyPr/>
        <a:lstStyle/>
        <a:p>
          <a:endParaRPr lang="en-US"/>
        </a:p>
      </dgm:t>
    </dgm:pt>
    <dgm:pt modelId="{85861580-D0A3-4E4D-A4ED-314D80D95E25}" type="pres">
      <dgm:prSet presAssocID="{5EE9F4C9-2599-49B6-8ECD-0BB37D2C3F87}" presName="horzThree" presStyleCnt="0"/>
      <dgm:spPr/>
      <dgm:t>
        <a:bodyPr/>
        <a:lstStyle/>
        <a:p>
          <a:endParaRPr lang="en-US"/>
        </a:p>
      </dgm:t>
    </dgm:pt>
    <dgm:pt modelId="{5BE8635C-8865-44E5-A4CA-D2AE9BB059C3}" type="pres">
      <dgm:prSet presAssocID="{17806EAE-C4F4-467A-B820-8C1CA2EBD8A0}" presName="sibSpaceThree" presStyleCnt="0"/>
      <dgm:spPr/>
      <dgm:t>
        <a:bodyPr/>
        <a:lstStyle/>
        <a:p>
          <a:endParaRPr lang="en-US"/>
        </a:p>
      </dgm:t>
    </dgm:pt>
    <dgm:pt modelId="{16FB9FE1-6CC8-4630-B6ED-7D381248E568}" type="pres">
      <dgm:prSet presAssocID="{191B23CF-7DD2-4EFA-B08B-2250979F1293}" presName="vertThree" presStyleCnt="0"/>
      <dgm:spPr/>
      <dgm:t>
        <a:bodyPr/>
        <a:lstStyle/>
        <a:p>
          <a:endParaRPr lang="en-US"/>
        </a:p>
      </dgm:t>
    </dgm:pt>
    <dgm:pt modelId="{31EB587D-09D1-42F6-8FA5-E1741080F3E3}" type="pres">
      <dgm:prSet presAssocID="{191B23CF-7DD2-4EFA-B08B-2250979F1293}" presName="txThree" presStyleLbl="node3" presStyleIdx="51" presStyleCnt="82">
        <dgm:presLayoutVars>
          <dgm:chPref val="3"/>
        </dgm:presLayoutVars>
      </dgm:prSet>
      <dgm:spPr/>
      <dgm:t>
        <a:bodyPr/>
        <a:lstStyle/>
        <a:p>
          <a:endParaRPr lang="en-US"/>
        </a:p>
      </dgm:t>
    </dgm:pt>
    <dgm:pt modelId="{C4A3D901-67BA-441C-BC25-47AF40762114}" type="pres">
      <dgm:prSet presAssocID="{191B23CF-7DD2-4EFA-B08B-2250979F1293}" presName="horzThree" presStyleCnt="0"/>
      <dgm:spPr/>
      <dgm:t>
        <a:bodyPr/>
        <a:lstStyle/>
        <a:p>
          <a:endParaRPr lang="en-US"/>
        </a:p>
      </dgm:t>
    </dgm:pt>
    <dgm:pt modelId="{10D2FCC7-A054-4432-A0D6-959B39FDA29A}" type="pres">
      <dgm:prSet presAssocID="{FB645C20-D1C7-46F3-9EB5-EDC78953F109}" presName="sibSpaceThree" presStyleCnt="0"/>
      <dgm:spPr/>
      <dgm:t>
        <a:bodyPr/>
        <a:lstStyle/>
        <a:p>
          <a:endParaRPr lang="en-US"/>
        </a:p>
      </dgm:t>
    </dgm:pt>
    <dgm:pt modelId="{18EDA531-4051-49A5-947E-6454170B229C}" type="pres">
      <dgm:prSet presAssocID="{A2864230-E369-45B2-841F-E8EDBF94FD90}" presName="vertThree" presStyleCnt="0"/>
      <dgm:spPr/>
      <dgm:t>
        <a:bodyPr/>
        <a:lstStyle/>
        <a:p>
          <a:endParaRPr lang="en-US"/>
        </a:p>
      </dgm:t>
    </dgm:pt>
    <dgm:pt modelId="{6A9F2E91-DBBC-4719-80DB-4557AC3C06D5}" type="pres">
      <dgm:prSet presAssocID="{A2864230-E369-45B2-841F-E8EDBF94FD90}" presName="txThree" presStyleLbl="node3" presStyleIdx="52" presStyleCnt="82">
        <dgm:presLayoutVars>
          <dgm:chPref val="3"/>
        </dgm:presLayoutVars>
      </dgm:prSet>
      <dgm:spPr/>
      <dgm:t>
        <a:bodyPr/>
        <a:lstStyle/>
        <a:p>
          <a:endParaRPr lang="en-US"/>
        </a:p>
      </dgm:t>
    </dgm:pt>
    <dgm:pt modelId="{40569A5F-7E9E-4308-A984-9B11A9D465B0}" type="pres">
      <dgm:prSet presAssocID="{A2864230-E369-45B2-841F-E8EDBF94FD90}" presName="horzThree" presStyleCnt="0"/>
      <dgm:spPr/>
      <dgm:t>
        <a:bodyPr/>
        <a:lstStyle/>
        <a:p>
          <a:endParaRPr lang="en-US"/>
        </a:p>
      </dgm:t>
    </dgm:pt>
    <dgm:pt modelId="{A3883CE0-A7E9-42CC-A73B-D624B629D214}" type="pres">
      <dgm:prSet presAssocID="{A1A2BE9E-7F45-4178-83E8-BCDFA6AD1772}" presName="sibSpaceThree" presStyleCnt="0"/>
      <dgm:spPr/>
      <dgm:t>
        <a:bodyPr/>
        <a:lstStyle/>
        <a:p>
          <a:endParaRPr lang="en-US"/>
        </a:p>
      </dgm:t>
    </dgm:pt>
    <dgm:pt modelId="{7946A0C2-7D53-4861-902A-65AC5B67B2F1}" type="pres">
      <dgm:prSet presAssocID="{C22E2E36-6DC9-478C-AD5F-377674B6197C}" presName="vertThree" presStyleCnt="0"/>
      <dgm:spPr/>
      <dgm:t>
        <a:bodyPr/>
        <a:lstStyle/>
        <a:p>
          <a:endParaRPr lang="en-US"/>
        </a:p>
      </dgm:t>
    </dgm:pt>
    <dgm:pt modelId="{BA1ACC70-9181-4C6E-B8CC-A153DF4F3F5A}" type="pres">
      <dgm:prSet presAssocID="{C22E2E36-6DC9-478C-AD5F-377674B6197C}" presName="txThree" presStyleLbl="node3" presStyleIdx="53" presStyleCnt="82">
        <dgm:presLayoutVars>
          <dgm:chPref val="3"/>
        </dgm:presLayoutVars>
      </dgm:prSet>
      <dgm:spPr/>
      <dgm:t>
        <a:bodyPr/>
        <a:lstStyle/>
        <a:p>
          <a:endParaRPr lang="en-US"/>
        </a:p>
      </dgm:t>
    </dgm:pt>
    <dgm:pt modelId="{A20B5E1A-D05B-4631-AA5F-3851EAD48A49}" type="pres">
      <dgm:prSet presAssocID="{C22E2E36-6DC9-478C-AD5F-377674B6197C}" presName="horzThree" presStyleCnt="0"/>
      <dgm:spPr/>
      <dgm:t>
        <a:bodyPr/>
        <a:lstStyle/>
        <a:p>
          <a:endParaRPr lang="en-US"/>
        </a:p>
      </dgm:t>
    </dgm:pt>
    <dgm:pt modelId="{297228BE-3E6F-498E-BA18-B7B5F991B83A}" type="pres">
      <dgm:prSet presAssocID="{BA88CD6D-6C28-482C-9695-F0BBABDE9B9D}" presName="sibSpaceThree" presStyleCnt="0"/>
      <dgm:spPr/>
      <dgm:t>
        <a:bodyPr/>
        <a:lstStyle/>
        <a:p>
          <a:endParaRPr lang="en-US"/>
        </a:p>
      </dgm:t>
    </dgm:pt>
    <dgm:pt modelId="{E160F90E-1D2D-43B8-9DA7-58E1CC8ABB71}" type="pres">
      <dgm:prSet presAssocID="{93B9F80F-01B9-433A-8A06-2917E6BFD2D8}" presName="vertThree" presStyleCnt="0"/>
      <dgm:spPr/>
      <dgm:t>
        <a:bodyPr/>
        <a:lstStyle/>
        <a:p>
          <a:endParaRPr lang="en-US"/>
        </a:p>
      </dgm:t>
    </dgm:pt>
    <dgm:pt modelId="{DC490CB3-BB1A-4B9E-8AA5-5C705DC7A072}" type="pres">
      <dgm:prSet presAssocID="{93B9F80F-01B9-433A-8A06-2917E6BFD2D8}" presName="txThree" presStyleLbl="node3" presStyleIdx="54" presStyleCnt="82">
        <dgm:presLayoutVars>
          <dgm:chPref val="3"/>
        </dgm:presLayoutVars>
      </dgm:prSet>
      <dgm:spPr/>
      <dgm:t>
        <a:bodyPr/>
        <a:lstStyle/>
        <a:p>
          <a:endParaRPr lang="en-US"/>
        </a:p>
      </dgm:t>
    </dgm:pt>
    <dgm:pt modelId="{E1D664C2-45AF-4151-941F-B9757C498E77}" type="pres">
      <dgm:prSet presAssocID="{93B9F80F-01B9-433A-8A06-2917E6BFD2D8}" presName="horzThree" presStyleCnt="0"/>
      <dgm:spPr/>
      <dgm:t>
        <a:bodyPr/>
        <a:lstStyle/>
        <a:p>
          <a:endParaRPr lang="en-US"/>
        </a:p>
      </dgm:t>
    </dgm:pt>
    <dgm:pt modelId="{FA6B9313-E4EB-4E52-BCEF-594ADEA3C953}" type="pres">
      <dgm:prSet presAssocID="{CEE0AD01-6887-441C-80E9-B3214FFED5E6}" presName="sibSpaceThree" presStyleCnt="0"/>
      <dgm:spPr/>
      <dgm:t>
        <a:bodyPr/>
        <a:lstStyle/>
        <a:p>
          <a:endParaRPr lang="en-US"/>
        </a:p>
      </dgm:t>
    </dgm:pt>
    <dgm:pt modelId="{DEF03F4D-04B8-4DB2-ABC7-C9E735532AF5}" type="pres">
      <dgm:prSet presAssocID="{850BFAEB-B241-4575-B7D6-F8675B28D3C9}" presName="vertThree" presStyleCnt="0"/>
      <dgm:spPr/>
      <dgm:t>
        <a:bodyPr/>
        <a:lstStyle/>
        <a:p>
          <a:endParaRPr lang="en-US"/>
        </a:p>
      </dgm:t>
    </dgm:pt>
    <dgm:pt modelId="{AE0774D0-FB4F-4139-A60F-B607DEF3872B}" type="pres">
      <dgm:prSet presAssocID="{850BFAEB-B241-4575-B7D6-F8675B28D3C9}" presName="txThree" presStyleLbl="node3" presStyleIdx="55" presStyleCnt="82">
        <dgm:presLayoutVars>
          <dgm:chPref val="3"/>
        </dgm:presLayoutVars>
      </dgm:prSet>
      <dgm:spPr/>
      <dgm:t>
        <a:bodyPr/>
        <a:lstStyle/>
        <a:p>
          <a:endParaRPr lang="en-US"/>
        </a:p>
      </dgm:t>
    </dgm:pt>
    <dgm:pt modelId="{D78FDC74-CDF6-4E0E-8CC8-38D07BC9BE42}" type="pres">
      <dgm:prSet presAssocID="{850BFAEB-B241-4575-B7D6-F8675B28D3C9}" presName="horzThree" presStyleCnt="0"/>
      <dgm:spPr/>
      <dgm:t>
        <a:bodyPr/>
        <a:lstStyle/>
        <a:p>
          <a:endParaRPr lang="en-US"/>
        </a:p>
      </dgm:t>
    </dgm:pt>
    <dgm:pt modelId="{131D5E2B-FCE6-4991-BC1D-7CB8EE0AA176}" type="pres">
      <dgm:prSet presAssocID="{B0B681B4-0D1E-476D-8137-812245E20D07}" presName="sibSpaceThree" presStyleCnt="0"/>
      <dgm:spPr/>
      <dgm:t>
        <a:bodyPr/>
        <a:lstStyle/>
        <a:p>
          <a:endParaRPr lang="en-US"/>
        </a:p>
      </dgm:t>
    </dgm:pt>
    <dgm:pt modelId="{2AFD5488-5CBF-4587-85D6-2D95A559E851}" type="pres">
      <dgm:prSet presAssocID="{B9D76A61-0BDC-4C7B-B330-651B48689A8E}" presName="vertThree" presStyleCnt="0"/>
      <dgm:spPr/>
      <dgm:t>
        <a:bodyPr/>
        <a:lstStyle/>
        <a:p>
          <a:endParaRPr lang="en-US"/>
        </a:p>
      </dgm:t>
    </dgm:pt>
    <dgm:pt modelId="{FDF48581-FF8C-4786-8361-11578A320553}" type="pres">
      <dgm:prSet presAssocID="{B9D76A61-0BDC-4C7B-B330-651B48689A8E}" presName="txThree" presStyleLbl="node3" presStyleIdx="56" presStyleCnt="82">
        <dgm:presLayoutVars>
          <dgm:chPref val="3"/>
        </dgm:presLayoutVars>
      </dgm:prSet>
      <dgm:spPr/>
      <dgm:t>
        <a:bodyPr/>
        <a:lstStyle/>
        <a:p>
          <a:endParaRPr lang="en-US"/>
        </a:p>
      </dgm:t>
    </dgm:pt>
    <dgm:pt modelId="{692270BA-4E31-48B5-978C-57F6426A2A23}" type="pres">
      <dgm:prSet presAssocID="{B9D76A61-0BDC-4C7B-B330-651B48689A8E}" presName="horzThree" presStyleCnt="0"/>
      <dgm:spPr/>
      <dgm:t>
        <a:bodyPr/>
        <a:lstStyle/>
        <a:p>
          <a:endParaRPr lang="en-US"/>
        </a:p>
      </dgm:t>
    </dgm:pt>
    <dgm:pt modelId="{60A69932-1B04-4BAF-9B45-53BFC3721E1D}" type="pres">
      <dgm:prSet presAssocID="{63C184FB-AC5A-4112-80BD-A56DECC1C5AE}" presName="sibSpaceThree" presStyleCnt="0"/>
      <dgm:spPr/>
      <dgm:t>
        <a:bodyPr/>
        <a:lstStyle/>
        <a:p>
          <a:endParaRPr lang="en-US"/>
        </a:p>
      </dgm:t>
    </dgm:pt>
    <dgm:pt modelId="{DD057F92-D002-4D02-A533-B79A20E0572F}" type="pres">
      <dgm:prSet presAssocID="{17E2BEE8-9023-4AAC-AD05-4AC0C3BE7EB6}" presName="vertThree" presStyleCnt="0"/>
      <dgm:spPr/>
      <dgm:t>
        <a:bodyPr/>
        <a:lstStyle/>
        <a:p>
          <a:endParaRPr lang="en-US"/>
        </a:p>
      </dgm:t>
    </dgm:pt>
    <dgm:pt modelId="{B7EC48C7-F961-4987-A7DF-CC315C44A814}" type="pres">
      <dgm:prSet presAssocID="{17E2BEE8-9023-4AAC-AD05-4AC0C3BE7EB6}" presName="txThree" presStyleLbl="node3" presStyleIdx="57" presStyleCnt="82">
        <dgm:presLayoutVars>
          <dgm:chPref val="3"/>
        </dgm:presLayoutVars>
      </dgm:prSet>
      <dgm:spPr/>
      <dgm:t>
        <a:bodyPr/>
        <a:lstStyle/>
        <a:p>
          <a:endParaRPr lang="en-US"/>
        </a:p>
      </dgm:t>
    </dgm:pt>
    <dgm:pt modelId="{AF82E16C-755E-4E16-BBA1-B2D1F6D27A50}" type="pres">
      <dgm:prSet presAssocID="{17E2BEE8-9023-4AAC-AD05-4AC0C3BE7EB6}" presName="horzThree" presStyleCnt="0"/>
      <dgm:spPr/>
      <dgm:t>
        <a:bodyPr/>
        <a:lstStyle/>
        <a:p>
          <a:endParaRPr lang="en-US"/>
        </a:p>
      </dgm:t>
    </dgm:pt>
    <dgm:pt modelId="{68A97273-9049-46E7-9F92-CC3E9EE7FF31}" type="pres">
      <dgm:prSet presAssocID="{2D15C1C7-9403-4054-A7BD-085719FD698F}" presName="sibSpaceThree" presStyleCnt="0"/>
      <dgm:spPr/>
      <dgm:t>
        <a:bodyPr/>
        <a:lstStyle/>
        <a:p>
          <a:endParaRPr lang="en-US"/>
        </a:p>
      </dgm:t>
    </dgm:pt>
    <dgm:pt modelId="{971BB285-BFAF-428F-A98B-249401A4B691}" type="pres">
      <dgm:prSet presAssocID="{1271AAED-FCF3-413D-BF8A-A56F74ACA8EE}" presName="vertThree" presStyleCnt="0"/>
      <dgm:spPr/>
      <dgm:t>
        <a:bodyPr/>
        <a:lstStyle/>
        <a:p>
          <a:endParaRPr lang="en-US"/>
        </a:p>
      </dgm:t>
    </dgm:pt>
    <dgm:pt modelId="{053A91AA-0388-433D-9C03-4FD2BD113810}" type="pres">
      <dgm:prSet presAssocID="{1271AAED-FCF3-413D-BF8A-A56F74ACA8EE}" presName="txThree" presStyleLbl="node3" presStyleIdx="58" presStyleCnt="82">
        <dgm:presLayoutVars>
          <dgm:chPref val="3"/>
        </dgm:presLayoutVars>
      </dgm:prSet>
      <dgm:spPr/>
      <dgm:t>
        <a:bodyPr/>
        <a:lstStyle/>
        <a:p>
          <a:endParaRPr lang="en-US"/>
        </a:p>
      </dgm:t>
    </dgm:pt>
    <dgm:pt modelId="{F7B75529-AC2E-4C29-A87D-3B72FE368496}" type="pres">
      <dgm:prSet presAssocID="{1271AAED-FCF3-413D-BF8A-A56F74ACA8EE}" presName="horzThree" presStyleCnt="0"/>
      <dgm:spPr/>
      <dgm:t>
        <a:bodyPr/>
        <a:lstStyle/>
        <a:p>
          <a:endParaRPr lang="en-US"/>
        </a:p>
      </dgm:t>
    </dgm:pt>
    <dgm:pt modelId="{6C743185-4613-4081-A2FC-0B3F262252E3}" type="pres">
      <dgm:prSet presAssocID="{13B823BB-CD2C-46A6-9811-27C62B33CAC6}" presName="sibSpaceThree" presStyleCnt="0"/>
      <dgm:spPr/>
      <dgm:t>
        <a:bodyPr/>
        <a:lstStyle/>
        <a:p>
          <a:endParaRPr lang="en-US"/>
        </a:p>
      </dgm:t>
    </dgm:pt>
    <dgm:pt modelId="{2BBD2D7E-FDCE-4553-A7F6-97F90480A523}" type="pres">
      <dgm:prSet presAssocID="{BED6532E-8FC1-408A-B694-E83E77FB3BEB}" presName="vertThree" presStyleCnt="0"/>
      <dgm:spPr/>
      <dgm:t>
        <a:bodyPr/>
        <a:lstStyle/>
        <a:p>
          <a:endParaRPr lang="en-US"/>
        </a:p>
      </dgm:t>
    </dgm:pt>
    <dgm:pt modelId="{3AFACA2F-D9D6-443D-A4D6-71B55DBA4394}" type="pres">
      <dgm:prSet presAssocID="{BED6532E-8FC1-408A-B694-E83E77FB3BEB}" presName="txThree" presStyleLbl="node3" presStyleIdx="59" presStyleCnt="82">
        <dgm:presLayoutVars>
          <dgm:chPref val="3"/>
        </dgm:presLayoutVars>
      </dgm:prSet>
      <dgm:spPr/>
      <dgm:t>
        <a:bodyPr/>
        <a:lstStyle/>
        <a:p>
          <a:endParaRPr lang="en-US"/>
        </a:p>
      </dgm:t>
    </dgm:pt>
    <dgm:pt modelId="{B92702D4-8B0F-4E3C-99C2-43D51388DA7D}" type="pres">
      <dgm:prSet presAssocID="{BED6532E-8FC1-408A-B694-E83E77FB3BEB}" presName="horzThree" presStyleCnt="0"/>
      <dgm:spPr/>
      <dgm:t>
        <a:bodyPr/>
        <a:lstStyle/>
        <a:p>
          <a:endParaRPr lang="en-US"/>
        </a:p>
      </dgm:t>
    </dgm:pt>
    <dgm:pt modelId="{36A72B66-B7C3-46EC-B132-4062FD48E832}" type="pres">
      <dgm:prSet presAssocID="{22554FAD-D0EA-44E5-919E-E51960214DFC}" presName="sibSpaceThree" presStyleCnt="0"/>
      <dgm:spPr/>
      <dgm:t>
        <a:bodyPr/>
        <a:lstStyle/>
        <a:p>
          <a:endParaRPr lang="en-US"/>
        </a:p>
      </dgm:t>
    </dgm:pt>
    <dgm:pt modelId="{17BA92BF-D909-4E65-A8A5-1F6CC97AAC80}" type="pres">
      <dgm:prSet presAssocID="{1A45ED5A-C37E-4848-8B37-1BD715801ED1}" presName="vertThree" presStyleCnt="0"/>
      <dgm:spPr/>
      <dgm:t>
        <a:bodyPr/>
        <a:lstStyle/>
        <a:p>
          <a:endParaRPr lang="en-US"/>
        </a:p>
      </dgm:t>
    </dgm:pt>
    <dgm:pt modelId="{0312C5BC-A03D-4651-B2E9-DA6D0FE4A3C1}" type="pres">
      <dgm:prSet presAssocID="{1A45ED5A-C37E-4848-8B37-1BD715801ED1}" presName="txThree" presStyleLbl="node3" presStyleIdx="60" presStyleCnt="82">
        <dgm:presLayoutVars>
          <dgm:chPref val="3"/>
        </dgm:presLayoutVars>
      </dgm:prSet>
      <dgm:spPr/>
      <dgm:t>
        <a:bodyPr/>
        <a:lstStyle/>
        <a:p>
          <a:endParaRPr lang="en-US"/>
        </a:p>
      </dgm:t>
    </dgm:pt>
    <dgm:pt modelId="{4F999636-2402-458E-8DCA-45B7B54D9BD6}" type="pres">
      <dgm:prSet presAssocID="{1A45ED5A-C37E-4848-8B37-1BD715801ED1}" presName="horzThree" presStyleCnt="0"/>
      <dgm:spPr/>
      <dgm:t>
        <a:bodyPr/>
        <a:lstStyle/>
        <a:p>
          <a:endParaRPr lang="en-US"/>
        </a:p>
      </dgm:t>
    </dgm:pt>
    <dgm:pt modelId="{3CA6BE6A-EC0B-4F41-BC46-55B63D1F1AE1}" type="pres">
      <dgm:prSet presAssocID="{ED1FCB71-CFFC-4DD0-9E8A-84AD906EA88E}" presName="sibSpaceThree" presStyleCnt="0"/>
      <dgm:spPr/>
      <dgm:t>
        <a:bodyPr/>
        <a:lstStyle/>
        <a:p>
          <a:endParaRPr lang="en-US"/>
        </a:p>
      </dgm:t>
    </dgm:pt>
    <dgm:pt modelId="{DA34F287-CFE1-4838-A2BC-76523EC5E44C}" type="pres">
      <dgm:prSet presAssocID="{B86604B5-DEAA-4A3D-96A5-43D6B62C4E86}" presName="vertThree" presStyleCnt="0"/>
      <dgm:spPr/>
      <dgm:t>
        <a:bodyPr/>
        <a:lstStyle/>
        <a:p>
          <a:endParaRPr lang="en-US"/>
        </a:p>
      </dgm:t>
    </dgm:pt>
    <dgm:pt modelId="{074B8C88-A226-404A-B889-51399F7D6F0E}" type="pres">
      <dgm:prSet presAssocID="{B86604B5-DEAA-4A3D-96A5-43D6B62C4E86}" presName="txThree" presStyleLbl="node3" presStyleIdx="61" presStyleCnt="82">
        <dgm:presLayoutVars>
          <dgm:chPref val="3"/>
        </dgm:presLayoutVars>
      </dgm:prSet>
      <dgm:spPr/>
      <dgm:t>
        <a:bodyPr/>
        <a:lstStyle/>
        <a:p>
          <a:endParaRPr lang="en-US"/>
        </a:p>
      </dgm:t>
    </dgm:pt>
    <dgm:pt modelId="{76FD44A1-1429-4852-9809-AAF0501A8090}" type="pres">
      <dgm:prSet presAssocID="{B86604B5-DEAA-4A3D-96A5-43D6B62C4E86}" presName="horzThree" presStyleCnt="0"/>
      <dgm:spPr/>
      <dgm:t>
        <a:bodyPr/>
        <a:lstStyle/>
        <a:p>
          <a:endParaRPr lang="en-US"/>
        </a:p>
      </dgm:t>
    </dgm:pt>
    <dgm:pt modelId="{8C55BD73-ECAB-4D9A-9F3B-86C03A0F36DB}" type="pres">
      <dgm:prSet presAssocID="{5A79C451-F6DF-40D3-AC79-35BE7701D19C}" presName="sibSpaceThree" presStyleCnt="0"/>
      <dgm:spPr/>
      <dgm:t>
        <a:bodyPr/>
        <a:lstStyle/>
        <a:p>
          <a:endParaRPr lang="en-US"/>
        </a:p>
      </dgm:t>
    </dgm:pt>
    <dgm:pt modelId="{D7C0449D-6852-4C9F-A6EB-B1DB1AD48C2C}" type="pres">
      <dgm:prSet presAssocID="{5F8757A5-463E-4B88-97EC-DB3CBA442D9E}" presName="vertThree" presStyleCnt="0"/>
      <dgm:spPr/>
      <dgm:t>
        <a:bodyPr/>
        <a:lstStyle/>
        <a:p>
          <a:endParaRPr lang="en-US"/>
        </a:p>
      </dgm:t>
    </dgm:pt>
    <dgm:pt modelId="{B7327A70-9E6A-451A-81B9-AE500F196E75}" type="pres">
      <dgm:prSet presAssocID="{5F8757A5-463E-4B88-97EC-DB3CBA442D9E}" presName="txThree" presStyleLbl="node3" presStyleIdx="62" presStyleCnt="82">
        <dgm:presLayoutVars>
          <dgm:chPref val="3"/>
        </dgm:presLayoutVars>
      </dgm:prSet>
      <dgm:spPr/>
      <dgm:t>
        <a:bodyPr/>
        <a:lstStyle/>
        <a:p>
          <a:endParaRPr lang="en-US"/>
        </a:p>
      </dgm:t>
    </dgm:pt>
    <dgm:pt modelId="{0298066A-796B-49AD-A90C-10807ADFEE54}" type="pres">
      <dgm:prSet presAssocID="{5F8757A5-463E-4B88-97EC-DB3CBA442D9E}" presName="horzThree" presStyleCnt="0"/>
      <dgm:spPr/>
      <dgm:t>
        <a:bodyPr/>
        <a:lstStyle/>
        <a:p>
          <a:endParaRPr lang="en-US"/>
        </a:p>
      </dgm:t>
    </dgm:pt>
    <dgm:pt modelId="{8EA8FF35-07F1-4480-BB8D-9329E7F55794}" type="pres">
      <dgm:prSet presAssocID="{2B2E4D0C-9AA4-4F95-BCFF-C47A3679D758}" presName="sibSpaceThree" presStyleCnt="0"/>
      <dgm:spPr/>
      <dgm:t>
        <a:bodyPr/>
        <a:lstStyle/>
        <a:p>
          <a:endParaRPr lang="en-US"/>
        </a:p>
      </dgm:t>
    </dgm:pt>
    <dgm:pt modelId="{60E7A222-8D9B-4CD0-915A-0B55B92611B9}" type="pres">
      <dgm:prSet presAssocID="{9C9361CC-FE51-4F6F-B6A8-DF6E0E78E0F7}" presName="vertThree" presStyleCnt="0"/>
      <dgm:spPr/>
      <dgm:t>
        <a:bodyPr/>
        <a:lstStyle/>
        <a:p>
          <a:endParaRPr lang="en-US"/>
        </a:p>
      </dgm:t>
    </dgm:pt>
    <dgm:pt modelId="{E3CB98F3-BC66-45DA-AF15-1D22B0730B22}" type="pres">
      <dgm:prSet presAssocID="{9C9361CC-FE51-4F6F-B6A8-DF6E0E78E0F7}" presName="txThree" presStyleLbl="node3" presStyleIdx="63" presStyleCnt="82">
        <dgm:presLayoutVars>
          <dgm:chPref val="3"/>
        </dgm:presLayoutVars>
      </dgm:prSet>
      <dgm:spPr/>
      <dgm:t>
        <a:bodyPr/>
        <a:lstStyle/>
        <a:p>
          <a:endParaRPr lang="en-US"/>
        </a:p>
      </dgm:t>
    </dgm:pt>
    <dgm:pt modelId="{C9D395DE-3196-42AE-A47E-E2912E7C6D9A}" type="pres">
      <dgm:prSet presAssocID="{9C9361CC-FE51-4F6F-B6A8-DF6E0E78E0F7}" presName="horzThree" presStyleCnt="0"/>
      <dgm:spPr/>
      <dgm:t>
        <a:bodyPr/>
        <a:lstStyle/>
        <a:p>
          <a:endParaRPr lang="en-US"/>
        </a:p>
      </dgm:t>
    </dgm:pt>
    <dgm:pt modelId="{B044EBAB-1FF5-4ECB-8436-E876D436FA52}" type="pres">
      <dgm:prSet presAssocID="{91B96BDC-37E7-47B7-8BDC-E26167650C3A}" presName="sibSpaceThree" presStyleCnt="0"/>
      <dgm:spPr/>
      <dgm:t>
        <a:bodyPr/>
        <a:lstStyle/>
        <a:p>
          <a:endParaRPr lang="en-US"/>
        </a:p>
      </dgm:t>
    </dgm:pt>
    <dgm:pt modelId="{19CF86EB-F97A-4147-9651-32D4CC31F18A}" type="pres">
      <dgm:prSet presAssocID="{41102D3E-3CD6-4D25-9DAB-8904E5DA574A}" presName="vertThree" presStyleCnt="0"/>
      <dgm:spPr/>
      <dgm:t>
        <a:bodyPr/>
        <a:lstStyle/>
        <a:p>
          <a:endParaRPr lang="en-US"/>
        </a:p>
      </dgm:t>
    </dgm:pt>
    <dgm:pt modelId="{60A889B8-7D30-4152-9152-F7FCD8D338BC}" type="pres">
      <dgm:prSet presAssocID="{41102D3E-3CD6-4D25-9DAB-8904E5DA574A}" presName="txThree" presStyleLbl="node3" presStyleIdx="64" presStyleCnt="82">
        <dgm:presLayoutVars>
          <dgm:chPref val="3"/>
        </dgm:presLayoutVars>
      </dgm:prSet>
      <dgm:spPr/>
      <dgm:t>
        <a:bodyPr/>
        <a:lstStyle/>
        <a:p>
          <a:endParaRPr lang="en-US"/>
        </a:p>
      </dgm:t>
    </dgm:pt>
    <dgm:pt modelId="{8A7D7DE3-5D9D-4A74-A81E-7BABD1875E2A}" type="pres">
      <dgm:prSet presAssocID="{41102D3E-3CD6-4D25-9DAB-8904E5DA574A}" presName="horzThree" presStyleCnt="0"/>
      <dgm:spPr/>
      <dgm:t>
        <a:bodyPr/>
        <a:lstStyle/>
        <a:p>
          <a:endParaRPr lang="en-US"/>
        </a:p>
      </dgm:t>
    </dgm:pt>
    <dgm:pt modelId="{A97A2005-E9C7-49B5-998F-64DAABE13DFB}" type="pres">
      <dgm:prSet presAssocID="{C0D0F109-C980-40F3-A7EF-B6E196F07D6D}" presName="sibSpaceThree" presStyleCnt="0"/>
      <dgm:spPr/>
      <dgm:t>
        <a:bodyPr/>
        <a:lstStyle/>
        <a:p>
          <a:endParaRPr lang="en-US"/>
        </a:p>
      </dgm:t>
    </dgm:pt>
    <dgm:pt modelId="{90DB95A4-BD37-4D7C-8925-9173B2ACAD8E}" type="pres">
      <dgm:prSet presAssocID="{EA2853BC-CCAE-4602-8C2E-FDA8966FF6F8}" presName="vertThree" presStyleCnt="0"/>
      <dgm:spPr/>
      <dgm:t>
        <a:bodyPr/>
        <a:lstStyle/>
        <a:p>
          <a:endParaRPr lang="en-US"/>
        </a:p>
      </dgm:t>
    </dgm:pt>
    <dgm:pt modelId="{E9898476-B872-4E96-8E6B-4639DC1E1EAF}" type="pres">
      <dgm:prSet presAssocID="{EA2853BC-CCAE-4602-8C2E-FDA8966FF6F8}" presName="txThree" presStyleLbl="node3" presStyleIdx="65" presStyleCnt="82">
        <dgm:presLayoutVars>
          <dgm:chPref val="3"/>
        </dgm:presLayoutVars>
      </dgm:prSet>
      <dgm:spPr/>
      <dgm:t>
        <a:bodyPr/>
        <a:lstStyle/>
        <a:p>
          <a:endParaRPr lang="en-US"/>
        </a:p>
      </dgm:t>
    </dgm:pt>
    <dgm:pt modelId="{047752E6-14F7-4931-A096-D86247B9E8D5}" type="pres">
      <dgm:prSet presAssocID="{EA2853BC-CCAE-4602-8C2E-FDA8966FF6F8}" presName="horzThree" presStyleCnt="0"/>
      <dgm:spPr/>
      <dgm:t>
        <a:bodyPr/>
        <a:lstStyle/>
        <a:p>
          <a:endParaRPr lang="en-US"/>
        </a:p>
      </dgm:t>
    </dgm:pt>
    <dgm:pt modelId="{A929B7BE-5CB9-42AF-8FFA-AECD964BA0CF}" type="pres">
      <dgm:prSet presAssocID="{F57CAAED-8F33-41DB-85FD-FCD2807794D2}" presName="sibSpaceThree" presStyleCnt="0"/>
      <dgm:spPr/>
      <dgm:t>
        <a:bodyPr/>
        <a:lstStyle/>
        <a:p>
          <a:endParaRPr lang="en-US"/>
        </a:p>
      </dgm:t>
    </dgm:pt>
    <dgm:pt modelId="{C845A2D5-4DCF-4027-98F4-E64B65C2D611}" type="pres">
      <dgm:prSet presAssocID="{DD9489E3-89A0-4881-BC91-435FD3509360}" presName="vertThree" presStyleCnt="0"/>
      <dgm:spPr/>
      <dgm:t>
        <a:bodyPr/>
        <a:lstStyle/>
        <a:p>
          <a:endParaRPr lang="en-US"/>
        </a:p>
      </dgm:t>
    </dgm:pt>
    <dgm:pt modelId="{E91E3A8B-A820-4DED-B5BD-AE0A3542B640}" type="pres">
      <dgm:prSet presAssocID="{DD9489E3-89A0-4881-BC91-435FD3509360}" presName="txThree" presStyleLbl="node3" presStyleIdx="66" presStyleCnt="82">
        <dgm:presLayoutVars>
          <dgm:chPref val="3"/>
        </dgm:presLayoutVars>
      </dgm:prSet>
      <dgm:spPr/>
      <dgm:t>
        <a:bodyPr/>
        <a:lstStyle/>
        <a:p>
          <a:endParaRPr lang="en-US"/>
        </a:p>
      </dgm:t>
    </dgm:pt>
    <dgm:pt modelId="{2F67A2F3-54B5-4AD9-81FD-B0D10F21152A}" type="pres">
      <dgm:prSet presAssocID="{DD9489E3-89A0-4881-BC91-435FD3509360}" presName="horzThree" presStyleCnt="0"/>
      <dgm:spPr/>
      <dgm:t>
        <a:bodyPr/>
        <a:lstStyle/>
        <a:p>
          <a:endParaRPr lang="en-US"/>
        </a:p>
      </dgm:t>
    </dgm:pt>
    <dgm:pt modelId="{4AFBD14C-62AE-4D54-8CE6-D62754A65872}" type="pres">
      <dgm:prSet presAssocID="{0D4E1D85-37B2-40D7-9604-C47B47DEA1D3}" presName="sibSpaceThree" presStyleCnt="0"/>
      <dgm:spPr/>
      <dgm:t>
        <a:bodyPr/>
        <a:lstStyle/>
        <a:p>
          <a:endParaRPr lang="en-US"/>
        </a:p>
      </dgm:t>
    </dgm:pt>
    <dgm:pt modelId="{5538E907-C6A7-4AB2-8AE2-55B54943EEBC}" type="pres">
      <dgm:prSet presAssocID="{C115DB15-8993-44F2-B09A-AC78E5B17793}" presName="vertThree" presStyleCnt="0"/>
      <dgm:spPr/>
      <dgm:t>
        <a:bodyPr/>
        <a:lstStyle/>
        <a:p>
          <a:endParaRPr lang="en-US"/>
        </a:p>
      </dgm:t>
    </dgm:pt>
    <dgm:pt modelId="{87B1145D-0AF4-4271-A5D9-C6D439DE7279}" type="pres">
      <dgm:prSet presAssocID="{C115DB15-8993-44F2-B09A-AC78E5B17793}" presName="txThree" presStyleLbl="node3" presStyleIdx="67" presStyleCnt="82">
        <dgm:presLayoutVars>
          <dgm:chPref val="3"/>
        </dgm:presLayoutVars>
      </dgm:prSet>
      <dgm:spPr/>
      <dgm:t>
        <a:bodyPr/>
        <a:lstStyle/>
        <a:p>
          <a:endParaRPr lang="en-US"/>
        </a:p>
      </dgm:t>
    </dgm:pt>
    <dgm:pt modelId="{4ECE0B45-E61D-468E-8A8A-8E52EEBE49D3}" type="pres">
      <dgm:prSet presAssocID="{C115DB15-8993-44F2-B09A-AC78E5B17793}" presName="horzThree" presStyleCnt="0"/>
      <dgm:spPr/>
      <dgm:t>
        <a:bodyPr/>
        <a:lstStyle/>
        <a:p>
          <a:endParaRPr lang="en-US"/>
        </a:p>
      </dgm:t>
    </dgm:pt>
    <dgm:pt modelId="{4B497725-BF26-4B94-BA48-C3AAF7670E08}" type="pres">
      <dgm:prSet presAssocID="{32FB2FFC-3BAE-416D-B135-9C7A57B8B38D}" presName="sibSpaceTwo" presStyleCnt="0"/>
      <dgm:spPr/>
      <dgm:t>
        <a:bodyPr/>
        <a:lstStyle/>
        <a:p>
          <a:endParaRPr lang="en-US"/>
        </a:p>
      </dgm:t>
    </dgm:pt>
    <dgm:pt modelId="{2592BEEA-7876-41A7-BA91-50089E10FBFB}" type="pres">
      <dgm:prSet presAssocID="{A740C59B-5275-452E-A17B-4F65422D4714}" presName="vertTwo" presStyleCnt="0"/>
      <dgm:spPr/>
    </dgm:pt>
    <dgm:pt modelId="{300CF3CC-CDD8-4957-8CBF-61F332586F7B}" type="pres">
      <dgm:prSet presAssocID="{A740C59B-5275-452E-A17B-4F65422D4714}" presName="txTwo" presStyleLbl="node2" presStyleIdx="3" presStyleCnt="6">
        <dgm:presLayoutVars>
          <dgm:chPref val="3"/>
        </dgm:presLayoutVars>
      </dgm:prSet>
      <dgm:spPr/>
      <dgm:t>
        <a:bodyPr/>
        <a:lstStyle/>
        <a:p>
          <a:endParaRPr lang="en-US"/>
        </a:p>
      </dgm:t>
    </dgm:pt>
    <dgm:pt modelId="{8DC55C4E-C081-48AD-BF60-75868E60F4E0}" type="pres">
      <dgm:prSet presAssocID="{A740C59B-5275-452E-A17B-4F65422D4714}" presName="parTransTwo" presStyleCnt="0"/>
      <dgm:spPr/>
    </dgm:pt>
    <dgm:pt modelId="{2D2B051D-5538-4265-9C36-1C49A8A37BA1}" type="pres">
      <dgm:prSet presAssocID="{A740C59B-5275-452E-A17B-4F65422D4714}" presName="horzTwo" presStyleCnt="0"/>
      <dgm:spPr/>
    </dgm:pt>
    <dgm:pt modelId="{274C4DA6-7AE6-4012-81AA-5777CEF7D6FC}" type="pres">
      <dgm:prSet presAssocID="{094ABEE8-62AE-4F18-B59F-0D8D215874A1}" presName="vertThree" presStyleCnt="0"/>
      <dgm:spPr/>
    </dgm:pt>
    <dgm:pt modelId="{D8D2ED38-F748-4289-8E77-4DDF823BBBBC}" type="pres">
      <dgm:prSet presAssocID="{094ABEE8-62AE-4F18-B59F-0D8D215874A1}" presName="txThree" presStyleLbl="node3" presStyleIdx="68" presStyleCnt="82">
        <dgm:presLayoutVars>
          <dgm:chPref val="3"/>
        </dgm:presLayoutVars>
      </dgm:prSet>
      <dgm:spPr/>
      <dgm:t>
        <a:bodyPr/>
        <a:lstStyle/>
        <a:p>
          <a:endParaRPr lang="en-US"/>
        </a:p>
      </dgm:t>
    </dgm:pt>
    <dgm:pt modelId="{7578D610-0AF3-402E-A625-AB9389DCE38B}" type="pres">
      <dgm:prSet presAssocID="{094ABEE8-62AE-4F18-B59F-0D8D215874A1}" presName="horzThree" presStyleCnt="0"/>
      <dgm:spPr/>
    </dgm:pt>
    <dgm:pt modelId="{508F94EE-F00B-42E5-8F8A-AE88FAC3D2AD}" type="pres">
      <dgm:prSet presAssocID="{86C0260C-C338-43A9-B76C-569EFC8C3E75}" presName="sibSpaceThree" presStyleCnt="0"/>
      <dgm:spPr/>
    </dgm:pt>
    <dgm:pt modelId="{4EB26A57-BA46-48C3-A765-BB0CDA7DFCF0}" type="pres">
      <dgm:prSet presAssocID="{BD18610D-BA4A-4FE7-B028-B84EA2CC8145}" presName="vertThree" presStyleCnt="0"/>
      <dgm:spPr/>
    </dgm:pt>
    <dgm:pt modelId="{5E0FD4F7-1302-4407-AFB8-D56C902F2C36}" type="pres">
      <dgm:prSet presAssocID="{BD18610D-BA4A-4FE7-B028-B84EA2CC8145}" presName="txThree" presStyleLbl="node3" presStyleIdx="69" presStyleCnt="82">
        <dgm:presLayoutVars>
          <dgm:chPref val="3"/>
        </dgm:presLayoutVars>
      </dgm:prSet>
      <dgm:spPr/>
      <dgm:t>
        <a:bodyPr/>
        <a:lstStyle/>
        <a:p>
          <a:endParaRPr lang="en-US"/>
        </a:p>
      </dgm:t>
    </dgm:pt>
    <dgm:pt modelId="{20DF5C21-AABA-48BB-BF70-8F752DD7C1A9}" type="pres">
      <dgm:prSet presAssocID="{BD18610D-BA4A-4FE7-B028-B84EA2CC8145}" presName="horzThree" presStyleCnt="0"/>
      <dgm:spPr/>
    </dgm:pt>
    <dgm:pt modelId="{60E8E852-6354-4709-A996-C10521DF5DDB}" type="pres">
      <dgm:prSet presAssocID="{4781CF56-87DD-43F8-B470-60654A67F141}" presName="sibSpaceThree" presStyleCnt="0"/>
      <dgm:spPr/>
    </dgm:pt>
    <dgm:pt modelId="{A65534C1-0077-4625-98C1-6F3125DF83C5}" type="pres">
      <dgm:prSet presAssocID="{AF7838D4-6E63-4E0B-88DB-316A20E3CBE9}" presName="vertThree" presStyleCnt="0"/>
      <dgm:spPr/>
    </dgm:pt>
    <dgm:pt modelId="{EA98DA56-01FE-46F1-BA8C-DEF2B5550464}" type="pres">
      <dgm:prSet presAssocID="{AF7838D4-6E63-4E0B-88DB-316A20E3CBE9}" presName="txThree" presStyleLbl="node3" presStyleIdx="70" presStyleCnt="82">
        <dgm:presLayoutVars>
          <dgm:chPref val="3"/>
        </dgm:presLayoutVars>
      </dgm:prSet>
      <dgm:spPr/>
      <dgm:t>
        <a:bodyPr/>
        <a:lstStyle/>
        <a:p>
          <a:endParaRPr lang="en-US"/>
        </a:p>
      </dgm:t>
    </dgm:pt>
    <dgm:pt modelId="{B553ADC2-DCCB-4F38-AA8B-6ECCFC222C19}" type="pres">
      <dgm:prSet presAssocID="{AF7838D4-6E63-4E0B-88DB-316A20E3CBE9}" presName="horzThree" presStyleCnt="0"/>
      <dgm:spPr/>
    </dgm:pt>
    <dgm:pt modelId="{6303E4EA-DBD4-4803-8EDF-933867E1D0DE}" type="pres">
      <dgm:prSet presAssocID="{A375B04A-1DD3-445E-BF78-F5AA8D6A9CB5}" presName="sibSpaceThree" presStyleCnt="0"/>
      <dgm:spPr/>
    </dgm:pt>
    <dgm:pt modelId="{64AEA6FC-AF5B-4821-876F-EC924A5B2696}" type="pres">
      <dgm:prSet presAssocID="{A5F004C2-7229-4D8C-BAB6-B3D054EC6D96}" presName="vertThree" presStyleCnt="0"/>
      <dgm:spPr/>
    </dgm:pt>
    <dgm:pt modelId="{3B9FA98F-AF95-4778-8296-1491745B0820}" type="pres">
      <dgm:prSet presAssocID="{A5F004C2-7229-4D8C-BAB6-B3D054EC6D96}" presName="txThree" presStyleLbl="node3" presStyleIdx="71" presStyleCnt="82">
        <dgm:presLayoutVars>
          <dgm:chPref val="3"/>
        </dgm:presLayoutVars>
      </dgm:prSet>
      <dgm:spPr/>
      <dgm:t>
        <a:bodyPr/>
        <a:lstStyle/>
        <a:p>
          <a:endParaRPr lang="en-US"/>
        </a:p>
      </dgm:t>
    </dgm:pt>
    <dgm:pt modelId="{7310845B-BFD9-47B5-9B41-C9F19EC97B23}" type="pres">
      <dgm:prSet presAssocID="{A5F004C2-7229-4D8C-BAB6-B3D054EC6D96}" presName="horzThree" presStyleCnt="0"/>
      <dgm:spPr/>
    </dgm:pt>
    <dgm:pt modelId="{022B2C05-D694-4245-AF22-D0742FF47481}" type="pres">
      <dgm:prSet presAssocID="{7ABB8367-0234-411D-965D-61CB437827BB}" presName="sibSpaceThree" presStyleCnt="0"/>
      <dgm:spPr/>
    </dgm:pt>
    <dgm:pt modelId="{88334A07-E051-431E-85B5-9F39C91F0CED}" type="pres">
      <dgm:prSet presAssocID="{6E377333-AE95-4192-89FE-4CA0CB6B1E7A}" presName="vertThree" presStyleCnt="0"/>
      <dgm:spPr/>
    </dgm:pt>
    <dgm:pt modelId="{1B8731FA-0D0A-4796-AAEF-97EDAD5E2921}" type="pres">
      <dgm:prSet presAssocID="{6E377333-AE95-4192-89FE-4CA0CB6B1E7A}" presName="txThree" presStyleLbl="node3" presStyleIdx="72" presStyleCnt="82">
        <dgm:presLayoutVars>
          <dgm:chPref val="3"/>
        </dgm:presLayoutVars>
      </dgm:prSet>
      <dgm:spPr/>
      <dgm:t>
        <a:bodyPr/>
        <a:lstStyle/>
        <a:p>
          <a:endParaRPr lang="en-US"/>
        </a:p>
      </dgm:t>
    </dgm:pt>
    <dgm:pt modelId="{8772DF2B-20BE-40E5-9EF6-A9AD7F6516FD}" type="pres">
      <dgm:prSet presAssocID="{6E377333-AE95-4192-89FE-4CA0CB6B1E7A}" presName="horzThree" presStyleCnt="0"/>
      <dgm:spPr/>
    </dgm:pt>
    <dgm:pt modelId="{CD46AF1D-3BC0-4B1A-B74C-9773204728D3}" type="pres">
      <dgm:prSet presAssocID="{BFE7C7C5-496F-4D10-A36A-DEEE988E00BA}" presName="sibSpaceThree" presStyleCnt="0"/>
      <dgm:spPr/>
    </dgm:pt>
    <dgm:pt modelId="{186C521B-282E-4EFC-BABF-9B196CA0F9B0}" type="pres">
      <dgm:prSet presAssocID="{EEFFF4F2-ED76-4B46-8B07-1EF5D5831B8F}" presName="vertThree" presStyleCnt="0"/>
      <dgm:spPr/>
    </dgm:pt>
    <dgm:pt modelId="{AE505F8C-57CF-4639-84BE-2661CF2D12D0}" type="pres">
      <dgm:prSet presAssocID="{EEFFF4F2-ED76-4B46-8B07-1EF5D5831B8F}" presName="txThree" presStyleLbl="node3" presStyleIdx="73" presStyleCnt="82">
        <dgm:presLayoutVars>
          <dgm:chPref val="3"/>
        </dgm:presLayoutVars>
      </dgm:prSet>
      <dgm:spPr/>
      <dgm:t>
        <a:bodyPr/>
        <a:lstStyle/>
        <a:p>
          <a:endParaRPr lang="en-US"/>
        </a:p>
      </dgm:t>
    </dgm:pt>
    <dgm:pt modelId="{D94AA9BF-00D7-485B-AC2F-FF33409D1C85}" type="pres">
      <dgm:prSet presAssocID="{EEFFF4F2-ED76-4B46-8B07-1EF5D5831B8F}" presName="horzThree" presStyleCnt="0"/>
      <dgm:spPr/>
    </dgm:pt>
    <dgm:pt modelId="{1DF63C9B-3E84-46E1-B250-D0FAE16DFDA9}" type="pres">
      <dgm:prSet presAssocID="{2D1C3643-D47C-4B19-BD90-8263442DE2A1}" presName="sibSpaceThree" presStyleCnt="0"/>
      <dgm:spPr/>
    </dgm:pt>
    <dgm:pt modelId="{28CBC5FA-9AAA-418E-B5D6-54512818A0A2}" type="pres">
      <dgm:prSet presAssocID="{1D9FC025-1E6C-4222-BC64-9179F0AA2EB7}" presName="vertThree" presStyleCnt="0"/>
      <dgm:spPr/>
    </dgm:pt>
    <dgm:pt modelId="{9EEA6381-5036-433B-8952-E5A592021CA2}" type="pres">
      <dgm:prSet presAssocID="{1D9FC025-1E6C-4222-BC64-9179F0AA2EB7}" presName="txThree" presStyleLbl="node3" presStyleIdx="74" presStyleCnt="82">
        <dgm:presLayoutVars>
          <dgm:chPref val="3"/>
        </dgm:presLayoutVars>
      </dgm:prSet>
      <dgm:spPr/>
      <dgm:t>
        <a:bodyPr/>
        <a:lstStyle/>
        <a:p>
          <a:endParaRPr lang="en-US"/>
        </a:p>
      </dgm:t>
    </dgm:pt>
    <dgm:pt modelId="{3D212712-56AF-4404-9FD9-D2011C93779E}" type="pres">
      <dgm:prSet presAssocID="{1D9FC025-1E6C-4222-BC64-9179F0AA2EB7}" presName="horzThree" presStyleCnt="0"/>
      <dgm:spPr/>
    </dgm:pt>
    <dgm:pt modelId="{90C5AEF2-63A8-4B87-B224-3EA48A195F16}" type="pres">
      <dgm:prSet presAssocID="{49458B59-4923-4356-8FB5-49F8027493E6}" presName="sibSpaceThree" presStyleCnt="0"/>
      <dgm:spPr/>
    </dgm:pt>
    <dgm:pt modelId="{8BA74BFF-AFE1-4D12-A572-09D13976B623}" type="pres">
      <dgm:prSet presAssocID="{CD8A2855-5601-45A0-9B93-C7919D7BFCBD}" presName="vertThree" presStyleCnt="0"/>
      <dgm:spPr/>
    </dgm:pt>
    <dgm:pt modelId="{99E93896-50C5-414F-90C5-CB46261E8052}" type="pres">
      <dgm:prSet presAssocID="{CD8A2855-5601-45A0-9B93-C7919D7BFCBD}" presName="txThree" presStyleLbl="node3" presStyleIdx="75" presStyleCnt="82">
        <dgm:presLayoutVars>
          <dgm:chPref val="3"/>
        </dgm:presLayoutVars>
      </dgm:prSet>
      <dgm:spPr/>
      <dgm:t>
        <a:bodyPr/>
        <a:lstStyle/>
        <a:p>
          <a:endParaRPr lang="en-US"/>
        </a:p>
      </dgm:t>
    </dgm:pt>
    <dgm:pt modelId="{C5A1A549-5BB3-4AAE-A510-17A59D980960}" type="pres">
      <dgm:prSet presAssocID="{CD8A2855-5601-45A0-9B93-C7919D7BFCBD}" presName="horzThree" presStyleCnt="0"/>
      <dgm:spPr/>
    </dgm:pt>
    <dgm:pt modelId="{526073DC-A7CD-4D55-B5F1-C2F9E7F54FC8}" type="pres">
      <dgm:prSet presAssocID="{CEE9F556-B17A-40A6-88A9-DA26867930B9}" presName="sibSpaceThree" presStyleCnt="0"/>
      <dgm:spPr/>
    </dgm:pt>
    <dgm:pt modelId="{07F697D8-ABF1-42E4-B851-D2C394FD92C5}" type="pres">
      <dgm:prSet presAssocID="{F1804E83-ABB7-4EDA-AAD0-21C5EECE2FD5}" presName="vertThree" presStyleCnt="0"/>
      <dgm:spPr/>
    </dgm:pt>
    <dgm:pt modelId="{E9A72AB3-AEC9-40AC-B626-3B45EDD407B3}" type="pres">
      <dgm:prSet presAssocID="{F1804E83-ABB7-4EDA-AAD0-21C5EECE2FD5}" presName="txThree" presStyleLbl="node3" presStyleIdx="76" presStyleCnt="82">
        <dgm:presLayoutVars>
          <dgm:chPref val="3"/>
        </dgm:presLayoutVars>
      </dgm:prSet>
      <dgm:spPr/>
      <dgm:t>
        <a:bodyPr/>
        <a:lstStyle/>
        <a:p>
          <a:endParaRPr lang="en-US"/>
        </a:p>
      </dgm:t>
    </dgm:pt>
    <dgm:pt modelId="{D6775997-CF62-4789-A4AD-FDE9F38AA5A0}" type="pres">
      <dgm:prSet presAssocID="{F1804E83-ABB7-4EDA-AAD0-21C5EECE2FD5}" presName="horzThree" presStyleCnt="0"/>
      <dgm:spPr/>
    </dgm:pt>
    <dgm:pt modelId="{6F751B3D-CA91-4CCE-9D19-045FC504187F}" type="pres">
      <dgm:prSet presAssocID="{9E559515-5831-4857-AA04-86866A5CB42B}" presName="sibSpaceThree" presStyleCnt="0"/>
      <dgm:spPr/>
    </dgm:pt>
    <dgm:pt modelId="{60C0FF80-6F2C-4DA1-931B-C99DDE4816F2}" type="pres">
      <dgm:prSet presAssocID="{E2E3B856-9B90-4BA8-832C-D568F5F9988D}" presName="vertThree" presStyleCnt="0"/>
      <dgm:spPr/>
    </dgm:pt>
    <dgm:pt modelId="{BC30F1AC-DEE0-424F-B63E-6AFEE0DBE781}" type="pres">
      <dgm:prSet presAssocID="{E2E3B856-9B90-4BA8-832C-D568F5F9988D}" presName="txThree" presStyleLbl="node3" presStyleIdx="77" presStyleCnt="82">
        <dgm:presLayoutVars>
          <dgm:chPref val="3"/>
        </dgm:presLayoutVars>
      </dgm:prSet>
      <dgm:spPr/>
      <dgm:t>
        <a:bodyPr/>
        <a:lstStyle/>
        <a:p>
          <a:endParaRPr lang="en-US"/>
        </a:p>
      </dgm:t>
    </dgm:pt>
    <dgm:pt modelId="{A6BE7B4F-47AD-40F9-9624-C1AF49D9CC05}" type="pres">
      <dgm:prSet presAssocID="{E2E3B856-9B90-4BA8-832C-D568F5F9988D}" presName="horzThree" presStyleCnt="0"/>
      <dgm:spPr/>
    </dgm:pt>
    <dgm:pt modelId="{85FA48C6-CC9D-4CD7-8867-7F44B93A6475}" type="pres">
      <dgm:prSet presAssocID="{67BCF5D8-3ABA-4C1B-A4A4-840BDF896745}" presName="sibSpaceThree" presStyleCnt="0"/>
      <dgm:spPr/>
    </dgm:pt>
    <dgm:pt modelId="{5617D5EE-05AA-4540-B205-4D3574C4C39A}" type="pres">
      <dgm:prSet presAssocID="{DBDB9F9F-E999-458A-81B3-88BF59A6B2CD}" presName="vertThree" presStyleCnt="0"/>
      <dgm:spPr/>
    </dgm:pt>
    <dgm:pt modelId="{1E52C614-1246-4A76-95E3-A2B48CD86314}" type="pres">
      <dgm:prSet presAssocID="{DBDB9F9F-E999-458A-81B3-88BF59A6B2CD}" presName="txThree" presStyleLbl="node3" presStyleIdx="78" presStyleCnt="82">
        <dgm:presLayoutVars>
          <dgm:chPref val="3"/>
        </dgm:presLayoutVars>
      </dgm:prSet>
      <dgm:spPr/>
      <dgm:t>
        <a:bodyPr/>
        <a:lstStyle/>
        <a:p>
          <a:endParaRPr lang="en-US"/>
        </a:p>
      </dgm:t>
    </dgm:pt>
    <dgm:pt modelId="{47DF7AAD-5944-4074-9ED1-2C378FB18437}" type="pres">
      <dgm:prSet presAssocID="{DBDB9F9F-E999-458A-81B3-88BF59A6B2CD}" presName="horzThree" presStyleCnt="0"/>
      <dgm:spPr/>
    </dgm:pt>
    <dgm:pt modelId="{109422DE-FE30-4553-8E0D-841007B3E602}" type="pres">
      <dgm:prSet presAssocID="{9310C790-811D-4493-B8E1-C7968EB4DC63}" presName="sibSpaceThree" presStyleCnt="0"/>
      <dgm:spPr/>
    </dgm:pt>
    <dgm:pt modelId="{FDD9854D-3032-49F0-9A0C-254620920AFD}" type="pres">
      <dgm:prSet presAssocID="{BD7C8486-9791-42A7-9BE2-94C8AA5C5D8F}" presName="vertThree" presStyleCnt="0"/>
      <dgm:spPr/>
    </dgm:pt>
    <dgm:pt modelId="{9D132697-72A0-4576-A6CD-3FADA3569E4E}" type="pres">
      <dgm:prSet presAssocID="{BD7C8486-9791-42A7-9BE2-94C8AA5C5D8F}" presName="txThree" presStyleLbl="node3" presStyleIdx="79" presStyleCnt="82">
        <dgm:presLayoutVars>
          <dgm:chPref val="3"/>
        </dgm:presLayoutVars>
      </dgm:prSet>
      <dgm:spPr/>
      <dgm:t>
        <a:bodyPr/>
        <a:lstStyle/>
        <a:p>
          <a:endParaRPr lang="en-US"/>
        </a:p>
      </dgm:t>
    </dgm:pt>
    <dgm:pt modelId="{A4B1AD2E-2386-47C6-A76E-00F47BFBF4BE}" type="pres">
      <dgm:prSet presAssocID="{BD7C8486-9791-42A7-9BE2-94C8AA5C5D8F}" presName="horzThree" presStyleCnt="0"/>
      <dgm:spPr/>
    </dgm:pt>
    <dgm:pt modelId="{43E382AF-2C7F-45E6-B7A7-5145D4C1174E}" type="pres">
      <dgm:prSet presAssocID="{5449309B-798A-4FEE-AC88-2C3BD8A1091D}" presName="sibSpaceTwo" presStyleCnt="0"/>
      <dgm:spPr/>
    </dgm:pt>
    <dgm:pt modelId="{8AD92B9F-B4FF-4D3E-971D-F94698C81BFC}" type="pres">
      <dgm:prSet presAssocID="{CB67C5BD-2EC7-451A-845C-CECDCA14A61B}" presName="vertTwo" presStyleCnt="0"/>
      <dgm:spPr/>
      <dgm:t>
        <a:bodyPr/>
        <a:lstStyle/>
        <a:p>
          <a:endParaRPr lang="en-US"/>
        </a:p>
      </dgm:t>
    </dgm:pt>
    <dgm:pt modelId="{DD170533-D0CE-402B-946C-BC803D35F61B}" type="pres">
      <dgm:prSet presAssocID="{CB67C5BD-2EC7-451A-845C-CECDCA14A61B}" presName="txTwo" presStyleLbl="node2" presStyleIdx="4" presStyleCnt="6">
        <dgm:presLayoutVars>
          <dgm:chPref val="3"/>
        </dgm:presLayoutVars>
      </dgm:prSet>
      <dgm:spPr/>
      <dgm:t>
        <a:bodyPr/>
        <a:lstStyle/>
        <a:p>
          <a:endParaRPr lang="en-US"/>
        </a:p>
      </dgm:t>
    </dgm:pt>
    <dgm:pt modelId="{7DB5A919-5C8D-411B-8684-CB892008E226}" type="pres">
      <dgm:prSet presAssocID="{CB67C5BD-2EC7-451A-845C-CECDCA14A61B}" presName="parTransTwo" presStyleCnt="0"/>
      <dgm:spPr/>
      <dgm:t>
        <a:bodyPr/>
        <a:lstStyle/>
        <a:p>
          <a:endParaRPr lang="en-US"/>
        </a:p>
      </dgm:t>
    </dgm:pt>
    <dgm:pt modelId="{4B34EE87-D1E4-402C-B255-AD45163C0F62}" type="pres">
      <dgm:prSet presAssocID="{CB67C5BD-2EC7-451A-845C-CECDCA14A61B}" presName="horzTwo" presStyleCnt="0"/>
      <dgm:spPr/>
      <dgm:t>
        <a:bodyPr/>
        <a:lstStyle/>
        <a:p>
          <a:endParaRPr lang="en-US"/>
        </a:p>
      </dgm:t>
    </dgm:pt>
    <dgm:pt modelId="{C61BAF10-7836-4C2F-892C-96F729F5E171}" type="pres">
      <dgm:prSet presAssocID="{03EFEE35-ADD7-47D7-9A9F-16D5B9BDCBFB}" presName="vertThree" presStyleCnt="0"/>
      <dgm:spPr/>
      <dgm:t>
        <a:bodyPr/>
        <a:lstStyle/>
        <a:p>
          <a:endParaRPr lang="en-US"/>
        </a:p>
      </dgm:t>
    </dgm:pt>
    <dgm:pt modelId="{19962120-483D-4E36-A2FD-EC5110E6A6D9}" type="pres">
      <dgm:prSet presAssocID="{03EFEE35-ADD7-47D7-9A9F-16D5B9BDCBFB}" presName="txThree" presStyleLbl="node3" presStyleIdx="80" presStyleCnt="82">
        <dgm:presLayoutVars>
          <dgm:chPref val="3"/>
        </dgm:presLayoutVars>
      </dgm:prSet>
      <dgm:spPr/>
      <dgm:t>
        <a:bodyPr/>
        <a:lstStyle/>
        <a:p>
          <a:endParaRPr lang="en-US"/>
        </a:p>
      </dgm:t>
    </dgm:pt>
    <dgm:pt modelId="{F5239FC2-CCFF-4BA5-9DD9-CEEC55443C3A}" type="pres">
      <dgm:prSet presAssocID="{03EFEE35-ADD7-47D7-9A9F-16D5B9BDCBFB}" presName="horzThree" presStyleCnt="0"/>
      <dgm:spPr/>
      <dgm:t>
        <a:bodyPr/>
        <a:lstStyle/>
        <a:p>
          <a:endParaRPr lang="en-US"/>
        </a:p>
      </dgm:t>
    </dgm:pt>
    <dgm:pt modelId="{AC334203-DCAC-4493-8E24-4DD5F9F16FE8}" type="pres">
      <dgm:prSet presAssocID="{E79BA582-E522-471A-A222-9E9B1970918F}" presName="sibSpaceOne" presStyleCnt="0"/>
      <dgm:spPr/>
      <dgm:t>
        <a:bodyPr/>
        <a:lstStyle/>
        <a:p>
          <a:endParaRPr lang="en-US"/>
        </a:p>
      </dgm:t>
    </dgm:pt>
    <dgm:pt modelId="{C14826E1-D307-471A-84C9-2E5F2AFE18D6}" type="pres">
      <dgm:prSet presAssocID="{C013493E-98E2-4B2D-BEC3-9375FE3A3200}" presName="vertOne" presStyleCnt="0"/>
      <dgm:spPr/>
      <dgm:t>
        <a:bodyPr/>
        <a:lstStyle/>
        <a:p>
          <a:endParaRPr lang="en-US"/>
        </a:p>
      </dgm:t>
    </dgm:pt>
    <dgm:pt modelId="{95D62823-7A03-4916-8E59-B61169A1FBD1}" type="pres">
      <dgm:prSet presAssocID="{C013493E-98E2-4B2D-BEC3-9375FE3A3200}" presName="txOne" presStyleLbl="node0" presStyleIdx="1" presStyleCnt="2">
        <dgm:presLayoutVars>
          <dgm:chPref val="3"/>
        </dgm:presLayoutVars>
      </dgm:prSet>
      <dgm:spPr/>
      <dgm:t>
        <a:bodyPr/>
        <a:lstStyle/>
        <a:p>
          <a:endParaRPr lang="en-US"/>
        </a:p>
      </dgm:t>
    </dgm:pt>
    <dgm:pt modelId="{8EA5D16E-EC19-46A9-B204-451587B5F289}" type="pres">
      <dgm:prSet presAssocID="{C013493E-98E2-4B2D-BEC3-9375FE3A3200}" presName="parTransOne" presStyleCnt="0"/>
      <dgm:spPr/>
      <dgm:t>
        <a:bodyPr/>
        <a:lstStyle/>
        <a:p>
          <a:endParaRPr lang="en-US"/>
        </a:p>
      </dgm:t>
    </dgm:pt>
    <dgm:pt modelId="{FAB0A8A3-78CA-43F6-9DD1-3F7F52F1A3C3}" type="pres">
      <dgm:prSet presAssocID="{C013493E-98E2-4B2D-BEC3-9375FE3A3200}" presName="horzOne" presStyleCnt="0"/>
      <dgm:spPr/>
      <dgm:t>
        <a:bodyPr/>
        <a:lstStyle/>
        <a:p>
          <a:endParaRPr lang="en-US"/>
        </a:p>
      </dgm:t>
    </dgm:pt>
    <dgm:pt modelId="{72D6637A-89D4-4AAE-BBD5-A0C1BE160057}" type="pres">
      <dgm:prSet presAssocID="{B79205C9-88CB-4CD3-AF54-F7DF0D10BABF}" presName="vertTwo" presStyleCnt="0"/>
      <dgm:spPr/>
      <dgm:t>
        <a:bodyPr/>
        <a:lstStyle/>
        <a:p>
          <a:endParaRPr lang="en-US"/>
        </a:p>
      </dgm:t>
    </dgm:pt>
    <dgm:pt modelId="{A364EF17-8BC8-4609-9DC0-EFA95BC4700C}" type="pres">
      <dgm:prSet presAssocID="{B79205C9-88CB-4CD3-AF54-F7DF0D10BABF}" presName="txTwo" presStyleLbl="node2" presStyleIdx="5" presStyleCnt="6">
        <dgm:presLayoutVars>
          <dgm:chPref val="3"/>
        </dgm:presLayoutVars>
      </dgm:prSet>
      <dgm:spPr/>
      <dgm:t>
        <a:bodyPr/>
        <a:lstStyle/>
        <a:p>
          <a:endParaRPr lang="en-US"/>
        </a:p>
      </dgm:t>
    </dgm:pt>
    <dgm:pt modelId="{82A226A4-D025-4149-8FF4-ADDF06AA4D1A}" type="pres">
      <dgm:prSet presAssocID="{B79205C9-88CB-4CD3-AF54-F7DF0D10BABF}" presName="parTransTwo" presStyleCnt="0"/>
      <dgm:spPr/>
      <dgm:t>
        <a:bodyPr/>
        <a:lstStyle/>
        <a:p>
          <a:endParaRPr lang="en-US"/>
        </a:p>
      </dgm:t>
    </dgm:pt>
    <dgm:pt modelId="{C972F6D4-A638-41CE-A029-EF17285D7E71}" type="pres">
      <dgm:prSet presAssocID="{B79205C9-88CB-4CD3-AF54-F7DF0D10BABF}" presName="horzTwo" presStyleCnt="0"/>
      <dgm:spPr/>
      <dgm:t>
        <a:bodyPr/>
        <a:lstStyle/>
        <a:p>
          <a:endParaRPr lang="en-US"/>
        </a:p>
      </dgm:t>
    </dgm:pt>
    <dgm:pt modelId="{25D2F6B3-990F-4DC3-9615-FB88BF236900}" type="pres">
      <dgm:prSet presAssocID="{E5A5A145-DEAC-43AC-A692-E937AE7A41BE}" presName="vertThree" presStyleCnt="0"/>
      <dgm:spPr/>
      <dgm:t>
        <a:bodyPr/>
        <a:lstStyle/>
        <a:p>
          <a:endParaRPr lang="en-US"/>
        </a:p>
      </dgm:t>
    </dgm:pt>
    <dgm:pt modelId="{05762FCE-10A1-4AD7-AE14-FD2A404DDF2B}" type="pres">
      <dgm:prSet presAssocID="{E5A5A145-DEAC-43AC-A692-E937AE7A41BE}" presName="txThree" presStyleLbl="node3" presStyleIdx="81" presStyleCnt="82" custScaleX="938859" custScaleY="100261">
        <dgm:presLayoutVars>
          <dgm:chPref val="3"/>
        </dgm:presLayoutVars>
      </dgm:prSet>
      <dgm:spPr/>
      <dgm:t>
        <a:bodyPr/>
        <a:lstStyle/>
        <a:p>
          <a:endParaRPr lang="en-US"/>
        </a:p>
      </dgm:t>
    </dgm:pt>
    <dgm:pt modelId="{DE67450D-71BB-44EB-BCB6-3AE3F647034B}" type="pres">
      <dgm:prSet presAssocID="{E5A5A145-DEAC-43AC-A692-E937AE7A41BE}" presName="horzThree" presStyleCnt="0"/>
      <dgm:spPr/>
      <dgm:t>
        <a:bodyPr/>
        <a:lstStyle/>
        <a:p>
          <a:endParaRPr lang="en-US"/>
        </a:p>
      </dgm:t>
    </dgm:pt>
  </dgm:ptLst>
  <dgm:cxnLst>
    <dgm:cxn modelId="{D68C773B-9E8F-4593-8EDC-02EAD963891A}" srcId="{2A59CD85-458E-49D4-9ADF-D95CAAAF81C8}" destId="{7A80C44F-C256-4784-A7E0-7DC9822CA587}" srcOrd="16" destOrd="0" parTransId="{964EFEE0-54CE-421A-92C5-55CDEE1C57DF}" sibTransId="{962BE385-992A-4B95-8D2B-342B7EAC052C}"/>
    <dgm:cxn modelId="{D684E847-E7E3-439C-A917-04C9AE7A0CB5}" srcId="{C013493E-98E2-4B2D-BEC3-9375FE3A3200}" destId="{B79205C9-88CB-4CD3-AF54-F7DF0D10BABF}" srcOrd="0" destOrd="0" parTransId="{145AB2EC-246E-4C1A-8AD6-046BAED44136}" sibTransId="{87FF257E-6B2E-45B0-A135-124D84179EDC}"/>
    <dgm:cxn modelId="{FF2176BC-B1AC-4C79-882B-1A6CC2337635}" srcId="{CB962011-A01D-4831-BDE8-98CDA5AAEF0D}" destId="{A740C59B-5275-452E-A17B-4F65422D4714}" srcOrd="3" destOrd="0" parTransId="{1CF17F82-75EF-425A-A336-E3D2792FB06A}" sibTransId="{5449309B-798A-4FEE-AC88-2C3BD8A1091D}"/>
    <dgm:cxn modelId="{CDE5154C-053B-4487-942F-BF81911B2B15}" type="presOf" srcId="{2F60C32C-D12F-4999-92C4-EF8A795BE8A0}" destId="{0C6D0EC8-91E8-4AA8-93C0-4DAA11895146}" srcOrd="0" destOrd="0" presId="urn:microsoft.com/office/officeart/2005/8/layout/hierarchy4"/>
    <dgm:cxn modelId="{9C2358DA-2C3D-43E9-A3F2-EFB5F1B43301}" type="presOf" srcId="{41102D3E-3CD6-4D25-9DAB-8904E5DA574A}" destId="{60A889B8-7D30-4152-9152-F7FCD8D338BC}" srcOrd="0" destOrd="0" presId="urn:microsoft.com/office/officeart/2005/8/layout/hierarchy4"/>
    <dgm:cxn modelId="{20AF2B33-8A2F-485E-AB28-1A6EB99213A6}" srcId="{A740C59B-5275-452E-A17B-4F65422D4714}" destId="{EEFFF4F2-ED76-4B46-8B07-1EF5D5831B8F}" srcOrd="5" destOrd="0" parTransId="{CFBD8608-E7CB-44DB-AC83-61E18A59E7BF}" sibTransId="{2D1C3643-D47C-4B19-BD90-8263442DE2A1}"/>
    <dgm:cxn modelId="{58E2426F-B0BE-49B3-9A52-40805E149684}" srcId="{2A59CD85-458E-49D4-9ADF-D95CAAAF81C8}" destId="{15858814-A724-442E-A125-A80D28948050}" srcOrd="6" destOrd="0" parTransId="{542FC3AD-5D2D-4E2C-AFEB-BCFD38A54984}" sibTransId="{BC6DB74A-6D33-4097-8BCF-E0A2F605489E}"/>
    <dgm:cxn modelId="{2988D3C8-9452-4CAC-B6AD-A2371B353DFA}" srcId="{CB962011-A01D-4831-BDE8-98CDA5AAEF0D}" destId="{CBD617BF-5B0F-44E8-8D5D-86AE9D05B5AA}" srcOrd="2" destOrd="0" parTransId="{0E95856A-0E8C-4970-BACE-996CEEA57A9F}" sibTransId="{32FB2FFC-3BAE-416D-B135-9C7A57B8B38D}"/>
    <dgm:cxn modelId="{81EFA4E9-402C-4795-B0A9-13625E769ADB}" srcId="{CBD617BF-5B0F-44E8-8D5D-86AE9D05B5AA}" destId="{850BFAEB-B241-4575-B7D6-F8675B28D3C9}" srcOrd="19" destOrd="0" parTransId="{26AD4B9B-1630-4373-9166-18CB6F8D0D00}" sibTransId="{B0B681B4-0D1E-476D-8137-812245E20D07}"/>
    <dgm:cxn modelId="{98465EEE-5E3F-4251-A14C-274D9311D8AB}" type="presOf" srcId="{6CB2108B-431B-4263-B8DB-70FA5449DA72}" destId="{F3462B34-FF24-4172-91C1-2E0B070780EF}" srcOrd="0" destOrd="0" presId="urn:microsoft.com/office/officeart/2005/8/layout/hierarchy4"/>
    <dgm:cxn modelId="{CEBD9979-1ADB-44C9-AD54-A40D0170CFC5}" srcId="{2A59CD85-458E-49D4-9ADF-D95CAAAF81C8}" destId="{B785808B-5E4C-435D-A12C-B53A9F0772A8}" srcOrd="24" destOrd="0" parTransId="{724A48AC-200D-40A5-8151-75A3B039CD4E}" sibTransId="{781B7B71-577D-4CC3-9A5F-4A981C5B1731}"/>
    <dgm:cxn modelId="{A2654FAA-352C-4A0B-81AB-3B367007C099}" type="presOf" srcId="{72A2DB37-7175-47CD-BC01-118D5600554B}" destId="{9A6C5FE0-4D4B-452C-A8B5-F1E8995AC4EC}" srcOrd="0" destOrd="0" presId="urn:microsoft.com/office/officeart/2005/8/layout/hierarchy4"/>
    <dgm:cxn modelId="{FEDFC1D2-58B1-4998-8EA1-DD2D422EEB19}" srcId="{2A59CD85-458E-49D4-9ADF-D95CAAAF81C8}" destId="{C71563D8-11EC-4FDC-9107-CA24E7C09704}" srcOrd="27" destOrd="0" parTransId="{02B261DD-3B3D-45BD-B88A-5CF8883BB797}" sibTransId="{ED44327B-6639-4E0A-BE72-3E76E8B2C01A}"/>
    <dgm:cxn modelId="{8640B3CC-9301-43E1-A774-54B8945C6D0C}" srcId="{2A59CD85-458E-49D4-9ADF-D95CAAAF81C8}" destId="{DC77AB2F-5AA5-4501-8AD8-34EA89473011}" srcOrd="13" destOrd="0" parTransId="{009863F8-9AF0-49BF-82CA-5AAEA9CEC438}" sibTransId="{6EC287D7-EE10-43A1-B969-4FFBF25CD804}"/>
    <dgm:cxn modelId="{C00A5245-65C1-4CA1-8862-2571D2688E04}" type="presOf" srcId="{AF7838D4-6E63-4E0B-88DB-316A20E3CBE9}" destId="{EA98DA56-01FE-46F1-BA8C-DEF2B5550464}" srcOrd="0" destOrd="0" presId="urn:microsoft.com/office/officeart/2005/8/layout/hierarchy4"/>
    <dgm:cxn modelId="{927AE11A-92C3-46B6-A682-3E287F882116}" type="presOf" srcId="{1E014006-3D55-4EE5-AD4E-479CD8866008}" destId="{4EF2B9A6-53D0-4783-8B94-73BB016716C4}" srcOrd="0" destOrd="0" presId="urn:microsoft.com/office/officeart/2005/8/layout/hierarchy4"/>
    <dgm:cxn modelId="{2EC016E3-B0B8-4EE3-A85C-3FCB5C9E1F99}" type="presOf" srcId="{6B4982F5-093E-4942-BADB-5FDD2C8D2469}" destId="{2678433E-7686-4479-B0F5-4CE0AB8AB526}" srcOrd="0" destOrd="0" presId="urn:microsoft.com/office/officeart/2005/8/layout/hierarchy4"/>
    <dgm:cxn modelId="{4FD6DB23-AEBC-40B5-8319-FF376033FBC1}" type="presOf" srcId="{1F94D81B-9139-4C7D-8A25-C6E46482E30F}" destId="{49BA51C3-9D30-4100-8F31-B6B14D1A800A}" srcOrd="0" destOrd="0" presId="urn:microsoft.com/office/officeart/2005/8/layout/hierarchy4"/>
    <dgm:cxn modelId="{349B6D0B-232A-49A8-8927-7C971146D346}" srcId="{A740C59B-5275-452E-A17B-4F65422D4714}" destId="{CD8A2855-5601-45A0-9B93-C7919D7BFCBD}" srcOrd="7" destOrd="0" parTransId="{BBA13B4C-93A5-4C6A-B10F-34EF96276148}" sibTransId="{CEE9F556-B17A-40A6-88A9-DA26867930B9}"/>
    <dgm:cxn modelId="{588497C8-C27F-4584-93D6-EF27C65AA235}" srcId="{A740C59B-5275-452E-A17B-4F65422D4714}" destId="{DBDB9F9F-E999-458A-81B3-88BF59A6B2CD}" srcOrd="10" destOrd="0" parTransId="{7CFA7588-566E-4387-8A0A-85DD0E99C0DE}" sibTransId="{9310C790-811D-4493-B8E1-C7968EB4DC63}"/>
    <dgm:cxn modelId="{A4169612-DE3A-48B6-923E-DA00CAB0278C}" srcId="{2A59CD85-458E-49D4-9ADF-D95CAAAF81C8}" destId="{DE7967FF-F145-449D-98A6-64158A2381B4}" srcOrd="15" destOrd="0" parTransId="{CB390495-FED3-414C-8B1A-04F909CA9E9B}" sibTransId="{215C0B3A-D1E7-4213-975F-A027D3D7FB6F}"/>
    <dgm:cxn modelId="{4958682A-55BE-4B3F-9B06-B37B59171CE3}" type="presOf" srcId="{B1D89FBB-354E-43DC-8BD2-C3AAEDAF58DA}" destId="{856C2FA2-2EF2-4EB3-9F07-25F25CEB6C88}" srcOrd="0" destOrd="0" presId="urn:microsoft.com/office/officeart/2005/8/layout/hierarchy4"/>
    <dgm:cxn modelId="{31836423-BF76-41C9-8252-1FF9DEE7AB84}" type="presOf" srcId="{CD8A2855-5601-45A0-9B93-C7919D7BFCBD}" destId="{99E93896-50C5-414F-90C5-CB46261E8052}" srcOrd="0" destOrd="0" presId="urn:microsoft.com/office/officeart/2005/8/layout/hierarchy4"/>
    <dgm:cxn modelId="{4EFE1FDC-C5EF-4365-B971-FB685E410735}" srcId="{CBD617BF-5B0F-44E8-8D5D-86AE9D05B5AA}" destId="{F7CB1295-B28E-435A-802B-E35289FFD3F1}" srcOrd="11" destOrd="0" parTransId="{0644EB6D-7F2D-4FBD-AF9B-52D113919F3F}" sibTransId="{79B9C237-D330-469E-80A7-57782AA31FE5}"/>
    <dgm:cxn modelId="{02121D7E-3970-44B1-83F6-39344EAB3FE0}" type="presOf" srcId="{F1804E83-ABB7-4EDA-AAD0-21C5EECE2FD5}" destId="{E9A72AB3-AEC9-40AC-B626-3B45EDD407B3}" srcOrd="0" destOrd="0" presId="urn:microsoft.com/office/officeart/2005/8/layout/hierarchy4"/>
    <dgm:cxn modelId="{2539D3E9-9D34-4EC2-A8A4-B0C1A9B93563}" srcId="{2A59CD85-458E-49D4-9ADF-D95CAAAF81C8}" destId="{2F60C32C-D12F-4999-92C4-EF8A795BE8A0}" srcOrd="19" destOrd="0" parTransId="{55F409ED-803A-4B77-8FFA-86DF6EAE49ED}" sibTransId="{A3091473-A773-41CC-8C52-2C6874499AD5}"/>
    <dgm:cxn modelId="{B6D417C3-9F4F-4AFE-8935-55058C6B3979}" srcId="{CBD617BF-5B0F-44E8-8D5D-86AE9D05B5AA}" destId="{5EE9F4C9-2599-49B6-8ECD-0BB37D2C3F87}" srcOrd="14" destOrd="0" parTransId="{069A03DC-A021-4E97-9E2B-A6FA256ED38A}" sibTransId="{17806EAE-C4F4-467A-B820-8C1CA2EBD8A0}"/>
    <dgm:cxn modelId="{4EAA0C14-93FC-4B5F-9421-215AA7DFA863}" srcId="{CBD617BF-5B0F-44E8-8D5D-86AE9D05B5AA}" destId="{0C23D059-1E68-4F6A-96A1-26F7B8211E04}" srcOrd="2" destOrd="0" parTransId="{ED58BE1A-FBEF-4AB5-B62E-8B1B78336DF2}" sibTransId="{044A91DE-01DA-407B-A821-A47F76523ED9}"/>
    <dgm:cxn modelId="{FFBF4D44-41E1-4C68-A9A6-5DF6B708ABF9}" srcId="{A740C59B-5275-452E-A17B-4F65422D4714}" destId="{AF7838D4-6E63-4E0B-88DB-316A20E3CBE9}" srcOrd="2" destOrd="0" parTransId="{32B4AA05-E52D-48BF-92E7-849C07005579}" sibTransId="{A375B04A-1DD3-445E-BF78-F5AA8D6A9CB5}"/>
    <dgm:cxn modelId="{4CBCA7CE-6A4E-4AC4-B685-A44C948C8F87}" type="presOf" srcId="{F7CB1295-B28E-435A-802B-E35289FFD3F1}" destId="{3D71B88A-A5D7-4A20-BDFB-2825F272DFB1}" srcOrd="0" destOrd="0" presId="urn:microsoft.com/office/officeart/2005/8/layout/hierarchy4"/>
    <dgm:cxn modelId="{A1D89ACB-5FAF-485E-B817-706EF0D133D7}" srcId="{CBD617BF-5B0F-44E8-8D5D-86AE9D05B5AA}" destId="{EA2853BC-CCAE-4602-8C2E-FDA8966FF6F8}" srcOrd="29" destOrd="0" parTransId="{A3CA156D-1849-4E10-9205-72749DDE3791}" sibTransId="{F57CAAED-8F33-41DB-85FD-FCD2807794D2}"/>
    <dgm:cxn modelId="{7D296AF2-E7A7-4C72-92D0-DC617537DB46}" srcId="{CBD617BF-5B0F-44E8-8D5D-86AE9D05B5AA}" destId="{191B23CF-7DD2-4EFA-B08B-2250979F1293}" srcOrd="15" destOrd="0" parTransId="{212D9D58-D4C7-42F5-B8F1-9322812256AF}" sibTransId="{FB645C20-D1C7-46F3-9EB5-EDC78953F109}"/>
    <dgm:cxn modelId="{1F6ABB84-2B65-4DAD-B4CC-4AD3CDE83EF3}" type="presOf" srcId="{E5A5A145-DEAC-43AC-A692-E937AE7A41BE}" destId="{05762FCE-10A1-4AD7-AE14-FD2A404DDF2B}" srcOrd="0" destOrd="0" presId="urn:microsoft.com/office/officeart/2005/8/layout/hierarchy4"/>
    <dgm:cxn modelId="{F3BC3336-D834-42B0-8EE4-A339C0542CE3}" type="presOf" srcId="{12FA561E-BEFF-41C5-8E21-C497F342100B}" destId="{12DD6C6F-513C-4012-9B4F-FA36FB27D4FA}" srcOrd="0" destOrd="0" presId="urn:microsoft.com/office/officeart/2005/8/layout/hierarchy4"/>
    <dgm:cxn modelId="{58B9E5D9-19BB-4E33-B36A-5A9AABCC5615}" type="presOf" srcId="{03EFEE35-ADD7-47D7-9A9F-16D5B9BDCBFB}" destId="{19962120-483D-4E36-A2FD-EC5110E6A6D9}" srcOrd="0" destOrd="0" presId="urn:microsoft.com/office/officeart/2005/8/layout/hierarchy4"/>
    <dgm:cxn modelId="{79AA8A2D-7F18-4B5A-891A-0B4CAE4F45A9}" srcId="{2A59CD85-458E-49D4-9ADF-D95CAAAF81C8}" destId="{6CB2108B-431B-4263-B8DB-70FA5449DA72}" srcOrd="11" destOrd="0" parTransId="{C21BE556-9430-40B9-9699-91F957C8D384}" sibTransId="{BA91E286-8E58-4502-859A-03A18A848D8A}"/>
    <dgm:cxn modelId="{1C951428-5F67-41B8-9915-B825E49C8EB9}" srcId="{2A59CD85-458E-49D4-9ADF-D95CAAAF81C8}" destId="{CEA2CCE2-8D14-4012-8A69-0614D20F3844}" srcOrd="4" destOrd="0" parTransId="{18464C69-2AC2-4E1D-9C85-A81BA049CD68}" sibTransId="{B7E68179-EB44-4BB7-A2C2-8F5A9A857B14}"/>
    <dgm:cxn modelId="{13476B70-E13D-449D-B9C6-E2A404356F65}" srcId="{A740C59B-5275-452E-A17B-4F65422D4714}" destId="{BD18610D-BA4A-4FE7-B028-B84EA2CC8145}" srcOrd="1" destOrd="0" parTransId="{AA19B2BE-3DDD-4843-9A8C-F592BC4CAB63}" sibTransId="{4781CF56-87DD-43F8-B470-60654A67F141}"/>
    <dgm:cxn modelId="{222BBBBE-6A98-4DFC-AFCF-BACE2B6E4FBC}" srcId="{CBD617BF-5B0F-44E8-8D5D-86AE9D05B5AA}" destId="{1A45ED5A-C37E-4848-8B37-1BD715801ED1}" srcOrd="24" destOrd="0" parTransId="{DD5B2D5C-A53B-4C56-8A2A-F600B870194A}" sibTransId="{ED1FCB71-CFFC-4DD0-9E8A-84AD906EA88E}"/>
    <dgm:cxn modelId="{9DE35F13-50C7-46E3-BE6C-093E3CA43CA8}" srcId="{CBD617BF-5B0F-44E8-8D5D-86AE9D05B5AA}" destId="{24961BA2-9A7D-4EC1-9A2C-9B93647E0C4E}" srcOrd="10" destOrd="0" parTransId="{3E65AAA3-F977-415B-AF16-0D3B2C7DA625}" sibTransId="{1BE4D8AC-F2BD-4C88-AB9B-DB49DAE5E4A9}"/>
    <dgm:cxn modelId="{48B38883-AA92-461D-AC4C-0EBC5B65E04D}" type="presOf" srcId="{C0E1F3A0-2007-41F8-902D-FB88A77A945B}" destId="{5A45FCE3-666C-4E83-A602-3DA331060D34}" srcOrd="0" destOrd="0" presId="urn:microsoft.com/office/officeart/2005/8/layout/hierarchy4"/>
    <dgm:cxn modelId="{173600B6-394C-4D04-8911-FADAEA76239A}" srcId="{CBD617BF-5B0F-44E8-8D5D-86AE9D05B5AA}" destId="{1271AAED-FCF3-413D-BF8A-A56F74ACA8EE}" srcOrd="22" destOrd="0" parTransId="{5E46C713-02E2-4530-9F16-A97A04E83F66}" sibTransId="{13B823BB-CD2C-46A6-9811-27C62B33CAC6}"/>
    <dgm:cxn modelId="{585D15C7-24DD-406D-8CFD-3488BC07BCD1}" type="presOf" srcId="{4D270442-3445-4A52-A0F8-BD7165E237CF}" destId="{8E083001-C032-4940-BBB7-4639385EAAB9}" srcOrd="0" destOrd="0" presId="urn:microsoft.com/office/officeart/2005/8/layout/hierarchy4"/>
    <dgm:cxn modelId="{52B9FDF0-CDF8-401E-9117-14E49B023B84}" type="presOf" srcId="{EEFFF4F2-ED76-4B46-8B07-1EF5D5831B8F}" destId="{AE505F8C-57CF-4639-84BE-2661CF2D12D0}" srcOrd="0" destOrd="0" presId="urn:microsoft.com/office/officeart/2005/8/layout/hierarchy4"/>
    <dgm:cxn modelId="{086240C7-E439-4CA7-8E1B-9A7C0618850B}" type="presOf" srcId="{1271AAED-FCF3-413D-BF8A-A56F74ACA8EE}" destId="{053A91AA-0388-433D-9C03-4FD2BD113810}" srcOrd="0" destOrd="0" presId="urn:microsoft.com/office/officeart/2005/8/layout/hierarchy4"/>
    <dgm:cxn modelId="{196A9337-0873-4EA1-B11A-2CFB2C56F8BB}" srcId="{CBD617BF-5B0F-44E8-8D5D-86AE9D05B5AA}" destId="{6B4982F5-093E-4942-BADB-5FDD2C8D2469}" srcOrd="9" destOrd="0" parTransId="{CDB0C113-0891-4B6A-A589-E9D6C77A676C}" sibTransId="{38C83C95-F7D1-43FA-9CF7-647DA21B46D5}"/>
    <dgm:cxn modelId="{D5E0D10B-C153-4FFD-93C0-908F9E3015B3}" srcId="{A740C59B-5275-452E-A17B-4F65422D4714}" destId="{094ABEE8-62AE-4F18-B59F-0D8D215874A1}" srcOrd="0" destOrd="0" parTransId="{B60A5B72-0CB4-4690-AE07-A9FF107DB670}" sibTransId="{86C0260C-C338-43A9-B76C-569EFC8C3E75}"/>
    <dgm:cxn modelId="{E0E0DD77-C833-49C5-A7C8-29F3785ABB16}" srcId="{CBD617BF-5B0F-44E8-8D5D-86AE9D05B5AA}" destId="{12FA561E-BEFF-41C5-8E21-C497F342100B}" srcOrd="4" destOrd="0" parTransId="{DAB2D16F-DBA4-4DE1-8A8E-408A4F3E7A8C}" sibTransId="{C39AB9AE-2070-478C-9916-998D7688669F}"/>
    <dgm:cxn modelId="{A72CBC2C-50EB-4AC7-9863-F5FC8BF51496}" type="presOf" srcId="{A5F004C2-7229-4D8C-BAB6-B3D054EC6D96}" destId="{3B9FA98F-AF95-4778-8296-1491745B0820}" srcOrd="0" destOrd="0" presId="urn:microsoft.com/office/officeart/2005/8/layout/hierarchy4"/>
    <dgm:cxn modelId="{DE84EB46-5320-4177-ACAD-D091BFFF8D71}" type="presOf" srcId="{24961BA2-9A7D-4EC1-9A2C-9B93647E0C4E}" destId="{E4D9EA3B-9C88-4EF8-A936-DC96839989A3}" srcOrd="0" destOrd="0" presId="urn:microsoft.com/office/officeart/2005/8/layout/hierarchy4"/>
    <dgm:cxn modelId="{11382565-EA29-4BD0-8A16-A8A89B1E593E}" type="presOf" srcId="{FFBF19EB-AD26-4AE4-8646-7FC634809800}" destId="{F8AC719F-CAF3-491D-A1F9-4D5765FED417}" srcOrd="0" destOrd="0" presId="urn:microsoft.com/office/officeart/2005/8/layout/hierarchy4"/>
    <dgm:cxn modelId="{BCC3890F-2820-478E-A588-B226820E30D6}" type="presOf" srcId="{BD18610D-BA4A-4FE7-B028-B84EA2CC8145}" destId="{5E0FD4F7-1302-4407-AFB8-D56C902F2C36}" srcOrd="0" destOrd="0" presId="urn:microsoft.com/office/officeart/2005/8/layout/hierarchy4"/>
    <dgm:cxn modelId="{F1BCDA3E-D10E-4484-83C9-40B5618F4F07}" srcId="{CBD617BF-5B0F-44E8-8D5D-86AE9D05B5AA}" destId="{C115DB15-8993-44F2-B09A-AC78E5B17793}" srcOrd="31" destOrd="0" parTransId="{15E96EB4-7EF6-4FF7-87AD-45412902BBBB}" sibTransId="{30990D8B-68AD-4E3D-97CD-1C84F1EA8B4D}"/>
    <dgm:cxn modelId="{5EF2AD82-929A-491D-9B63-50767169C352}" srcId="{2A59CD85-458E-49D4-9ADF-D95CAAAF81C8}" destId="{A4A80994-28F9-4EE8-89FD-45B63E089CC3}" srcOrd="26" destOrd="0" parTransId="{0ABAC972-6257-4C1C-9C91-0B68A5CF14F0}" sibTransId="{1B4BC288-7DF2-4B2F-9296-5E38C5F8398C}"/>
    <dgm:cxn modelId="{C6BDB560-D6EA-4297-A18D-BFD6207DEFBD}" type="presOf" srcId="{B785808B-5E4C-435D-A12C-B53A9F0772A8}" destId="{B417144F-D885-4962-80C5-215F38407005}" srcOrd="0" destOrd="0" presId="urn:microsoft.com/office/officeart/2005/8/layout/hierarchy4"/>
    <dgm:cxn modelId="{20D9169C-2FF4-4C26-A70E-EADE0A76C1C5}" srcId="{CB962011-A01D-4831-BDE8-98CDA5AAEF0D}" destId="{2A59CD85-458E-49D4-9ADF-D95CAAAF81C8}" srcOrd="1" destOrd="0" parTransId="{BABFA7C0-2255-44AF-B3D7-0BDD238A7C3B}" sibTransId="{E0FF60A9-B53D-4E45-B340-D613B834205A}"/>
    <dgm:cxn modelId="{EF0F9D88-A537-4F73-A058-BC65BCDD969C}" srcId="{CBD617BF-5B0F-44E8-8D5D-86AE9D05B5AA}" destId="{B6A8E937-0DD2-4105-8D62-061DD73BD8C7}" srcOrd="12" destOrd="0" parTransId="{340CEDAD-1EBF-4204-A852-7D5C91CF1EB4}" sibTransId="{76ABE6DB-C970-4D7A-BDFC-125627B38830}"/>
    <dgm:cxn modelId="{199EBD2B-EF51-452F-97F3-AC929CF3FA64}" type="presOf" srcId="{6E377333-AE95-4192-89FE-4CA0CB6B1E7A}" destId="{1B8731FA-0D0A-4796-AAEF-97EDAD5E2921}" srcOrd="0" destOrd="0" presId="urn:microsoft.com/office/officeart/2005/8/layout/hierarchy4"/>
    <dgm:cxn modelId="{310B3FBD-0C32-408A-AB99-36D43A307D7D}" srcId="{CBD617BF-5B0F-44E8-8D5D-86AE9D05B5AA}" destId="{93B9F80F-01B9-433A-8A06-2917E6BFD2D8}" srcOrd="18" destOrd="0" parTransId="{35A9A5C5-E672-4A90-9C6E-C9B13CB3C917}" sibTransId="{CEE0AD01-6887-441C-80E9-B3214FFED5E6}"/>
    <dgm:cxn modelId="{50FDA2F7-4EC5-45B8-BC43-D89D17C928F1}" srcId="{A740C59B-5275-452E-A17B-4F65422D4714}" destId="{E2E3B856-9B90-4BA8-832C-D568F5F9988D}" srcOrd="9" destOrd="0" parTransId="{ECA78497-1D2D-47BF-AA9D-53FAA2D3BE5B}" sibTransId="{67BCF5D8-3ABA-4C1B-A4A4-840BDF896745}"/>
    <dgm:cxn modelId="{B19DB8EA-3A95-4F7D-9ECC-2E6FA1DEB8B3}" type="presOf" srcId="{BED6532E-8FC1-408A-B694-E83E77FB3BEB}" destId="{3AFACA2F-D9D6-443D-A4D6-71B55DBA4394}" srcOrd="0" destOrd="0" presId="urn:microsoft.com/office/officeart/2005/8/layout/hierarchy4"/>
    <dgm:cxn modelId="{1EB3FBD1-CFD0-4E62-9466-7A4E5EFF0DDF}" srcId="{CBD617BF-5B0F-44E8-8D5D-86AE9D05B5AA}" destId="{17E2BEE8-9023-4AAC-AD05-4AC0C3BE7EB6}" srcOrd="21" destOrd="0" parTransId="{FF73CB06-1AA4-42AC-80EA-E8E48687148D}" sibTransId="{2D15C1C7-9403-4054-A7BD-085719FD698F}"/>
    <dgm:cxn modelId="{C6C146D6-4A26-4DE8-A720-79C76FF8F0FF}" type="presOf" srcId="{A2864230-E369-45B2-841F-E8EDBF94FD90}" destId="{6A9F2E91-DBBC-4719-80DB-4557AC3C06D5}" srcOrd="0" destOrd="0" presId="urn:microsoft.com/office/officeart/2005/8/layout/hierarchy4"/>
    <dgm:cxn modelId="{CFF4FD3A-76EA-458D-94B3-948251F8DB4A}" srcId="{2A59CD85-458E-49D4-9ADF-D95CAAAF81C8}" destId="{E7EB3BC9-39E5-4B58-8BC9-2B4A2A2A1E80}" srcOrd="18" destOrd="0" parTransId="{290DE1B2-E1C6-42B2-94F6-B4E3A5C78EBE}" sibTransId="{1D5FDC79-207F-45C8-8B09-33E09BDE7BA2}"/>
    <dgm:cxn modelId="{DFAF0F4E-3371-44BC-AF79-57B1B5811241}" type="presOf" srcId="{CEA2CCE2-8D14-4012-8A69-0614D20F3844}" destId="{B8BC3BA1-ED75-4F94-956E-68AA5E500B2D}" srcOrd="0" destOrd="0" presId="urn:microsoft.com/office/officeart/2005/8/layout/hierarchy4"/>
    <dgm:cxn modelId="{61D49BDC-BF59-41D5-A18E-C5C0523DD414}" srcId="{A740C59B-5275-452E-A17B-4F65422D4714}" destId="{A5F004C2-7229-4D8C-BAB6-B3D054EC6D96}" srcOrd="3" destOrd="0" parTransId="{64451022-5EF8-4F50-8AC2-29FB6DF1CD61}" sibTransId="{7ABB8367-0234-411D-965D-61CB437827BB}"/>
    <dgm:cxn modelId="{DAD01BBC-F5CD-4183-8FF6-E317C3A990D9}" srcId="{CBD617BF-5B0F-44E8-8D5D-86AE9D05B5AA}" destId="{556A9ECF-4736-4089-931B-49850BA7C3CA}" srcOrd="1" destOrd="0" parTransId="{AFC92844-9100-40DC-8688-2120B7C2B9BE}" sibTransId="{7A111E2E-7ED1-4FD3-8601-90ADCF143A1C}"/>
    <dgm:cxn modelId="{3CFDD765-AB6F-49F4-89AA-02ADAF60746E}" type="presOf" srcId="{B74E292A-CC26-4C91-82A9-1F0A90EF2088}" destId="{CB40655B-3A78-446B-81DC-752E71EBF0AD}" srcOrd="0" destOrd="0" presId="urn:microsoft.com/office/officeart/2005/8/layout/hierarchy4"/>
    <dgm:cxn modelId="{15EC1EE0-357B-4D8A-B2B5-FA2FCB50F81A}" type="presOf" srcId="{191B23CF-7DD2-4EFA-B08B-2250979F1293}" destId="{31EB587D-09D1-42F6-8FA5-E1741080F3E3}" srcOrd="0" destOrd="0" presId="urn:microsoft.com/office/officeart/2005/8/layout/hierarchy4"/>
    <dgm:cxn modelId="{E4BB45B2-C7EB-4345-AD16-E367DBC5EAAA}" srcId="{2A59CD85-458E-49D4-9ADF-D95CAAAF81C8}" destId="{65A9A385-2779-453E-8097-D1B6D4F42443}" srcOrd="22" destOrd="0" parTransId="{E4139AB5-0128-4FB3-9BFF-BF3603E126EF}" sibTransId="{C1A12ECE-DA77-4B31-A546-07F862698EFA}"/>
    <dgm:cxn modelId="{D41BC54D-E1AA-416B-802A-57C0BAC49084}" srcId="{70803910-308B-4499-940E-7A989F55B242}" destId="{C013493E-98E2-4B2D-BEC3-9375FE3A3200}" srcOrd="1" destOrd="0" parTransId="{AEEF1A03-A151-431B-9584-1594D1460427}" sibTransId="{E3AA5145-B1F4-4C83-B947-79FFD2218C1C}"/>
    <dgm:cxn modelId="{92FB3FD7-9EB4-4406-BC95-BA3CAE67CC73}" srcId="{2A59CD85-458E-49D4-9ADF-D95CAAAF81C8}" destId="{18722CAA-CD1D-465E-87CE-74A95A335F80}" srcOrd="17" destOrd="0" parTransId="{23F570BC-4047-4774-A125-77B255FEDF74}" sibTransId="{E637B16C-768F-450C-A58B-887CE75A9DFE}"/>
    <dgm:cxn modelId="{897079CD-D2B2-4AF0-828C-211CE28553E2}" type="presOf" srcId="{F97AE781-5E02-4F6A-A5A2-4BED3F93526F}" destId="{720B06E0-9EA7-47F7-98E8-655F7F53DCF4}" srcOrd="0" destOrd="0" presId="urn:microsoft.com/office/officeart/2005/8/layout/hierarchy4"/>
    <dgm:cxn modelId="{87EB76CA-13A8-446E-AFC8-F349F8502951}" type="presOf" srcId="{7932597D-7F34-4283-8CA5-B4E22EFABD74}" destId="{AFAC0F0D-098F-4D27-93F0-D66465E8FF0D}" srcOrd="0" destOrd="0" presId="urn:microsoft.com/office/officeart/2005/8/layout/hierarchy4"/>
    <dgm:cxn modelId="{FA48B9C7-B83F-406E-B212-30B62D188B30}" srcId="{CBD617BF-5B0F-44E8-8D5D-86AE9D05B5AA}" destId="{5F8757A5-463E-4B88-97EC-DB3CBA442D9E}" srcOrd="26" destOrd="0" parTransId="{A8BC186A-4DC1-4742-82CB-2DE1D2A32FF4}" sibTransId="{2B2E4D0C-9AA4-4F95-BCFF-C47A3679D758}"/>
    <dgm:cxn modelId="{94F75CD5-CFB9-4C65-B35C-40140A0356A5}" srcId="{70803910-308B-4499-940E-7A989F55B242}" destId="{CB962011-A01D-4831-BDE8-98CDA5AAEF0D}" srcOrd="0" destOrd="0" parTransId="{4FA2D55B-A91E-4071-9F8E-F86EB41BF593}" sibTransId="{E79BA582-E522-471A-A222-9E9B1970918F}"/>
    <dgm:cxn modelId="{28986CF1-6AE2-4531-849C-9FC89557776F}" srcId="{A740C59B-5275-452E-A17B-4F65422D4714}" destId="{6E377333-AE95-4192-89FE-4CA0CB6B1E7A}" srcOrd="4" destOrd="0" parTransId="{DAC54928-E6D8-4B40-9F0C-3B12D0EFF709}" sibTransId="{BFE7C7C5-496F-4D10-A36A-DEEE988E00BA}"/>
    <dgm:cxn modelId="{8E640DBC-FC63-4E95-B701-E92B4637DE70}" srcId="{CB962011-A01D-4831-BDE8-98CDA5AAEF0D}" destId="{CB67C5BD-2EC7-451A-845C-CECDCA14A61B}" srcOrd="4" destOrd="0" parTransId="{B18D31B6-B12C-428A-A4EF-ADA5114145D7}" sibTransId="{0837E559-DEFF-4DA0-89FC-341E3D720593}"/>
    <dgm:cxn modelId="{D8C47291-C324-4FDF-B001-4AF075B92A92}" srcId="{CBD617BF-5B0F-44E8-8D5D-86AE9D05B5AA}" destId="{A2864230-E369-45B2-841F-E8EDBF94FD90}" srcOrd="16" destOrd="0" parTransId="{268D9773-44DD-4D11-9478-55B267D98F18}" sibTransId="{A1A2BE9E-7F45-4178-83E8-BCDFA6AD1772}"/>
    <dgm:cxn modelId="{3A5AC2B0-9395-4B8B-B3D9-99259C00864F}" srcId="{2A59CD85-458E-49D4-9ADF-D95CAAAF81C8}" destId="{FA5A1A6B-8D40-4149-898B-2E19DC9AAEA1}" srcOrd="20" destOrd="0" parTransId="{F5F5DAEC-00F7-48F0-B005-475E2459F781}" sibTransId="{F45FED01-E98E-4388-8BCF-AAA9A7D2D6F9}"/>
    <dgm:cxn modelId="{E3473867-6D59-4BD4-9AA8-F86282C576E5}" type="presOf" srcId="{DD9489E3-89A0-4881-BC91-435FD3509360}" destId="{E91E3A8B-A820-4DED-B5BD-AE0A3542B640}" srcOrd="0" destOrd="0" presId="urn:microsoft.com/office/officeart/2005/8/layout/hierarchy4"/>
    <dgm:cxn modelId="{8F7425EE-1150-4728-A51E-0E6C1D8699BF}" type="presOf" srcId="{1D9FC025-1E6C-4222-BC64-9179F0AA2EB7}" destId="{9EEA6381-5036-433B-8952-E5A592021CA2}" srcOrd="0" destOrd="0" presId="urn:microsoft.com/office/officeart/2005/8/layout/hierarchy4"/>
    <dgm:cxn modelId="{F3AD6425-F70F-4643-B963-9D179E1777E7}" type="presOf" srcId="{8CEB72ED-CD58-4818-9E18-1A7F39C30851}" destId="{BD011702-8998-41EE-B415-A8D2C315083E}" srcOrd="0" destOrd="0" presId="urn:microsoft.com/office/officeart/2005/8/layout/hierarchy4"/>
    <dgm:cxn modelId="{818C6F68-C063-4398-836B-3D42F536570E}" type="presOf" srcId="{E226EA3E-5102-4521-A24C-CB6C2C44DB38}" destId="{4C3F5D75-D660-4196-BE58-4FEEA2FD1070}" srcOrd="0" destOrd="0" presId="urn:microsoft.com/office/officeart/2005/8/layout/hierarchy4"/>
    <dgm:cxn modelId="{566000DA-96A9-4181-A428-43A014A22FE9}" type="presOf" srcId="{18722CAA-CD1D-465E-87CE-74A95A335F80}" destId="{B8E542A7-D4A3-4AD8-9A5B-37B095D516AC}" srcOrd="0" destOrd="0" presId="urn:microsoft.com/office/officeart/2005/8/layout/hierarchy4"/>
    <dgm:cxn modelId="{A91C1B14-0A19-431B-8F3E-32779D4166EE}" srcId="{F302CB54-ADC2-433E-890C-78FCF794313A}" destId="{FBB096D8-601A-4F3F-A603-A4BEA97AD825}" srcOrd="0" destOrd="0" parTransId="{9FD03A43-F6DE-4044-8023-FF951CC758C6}" sibTransId="{7DCAE619-7BE5-415A-B877-3AF49DA1A670}"/>
    <dgm:cxn modelId="{0CCDD12E-71BD-44C8-AF87-C7BEEA0A34C8}" srcId="{F302CB54-ADC2-433E-890C-78FCF794313A}" destId="{46B86AE4-E6A9-472A-80F2-86F7350348BA}" srcOrd="5" destOrd="0" parTransId="{11F0CCD8-4A37-4E07-9230-84E891F7134A}" sibTransId="{76A5C397-ED9C-4D02-AD9A-D1ED8892AA6F}"/>
    <dgm:cxn modelId="{C71BC360-85AD-4E76-BB65-DB4DDD575225}" type="presOf" srcId="{C115DB15-8993-44F2-B09A-AC78E5B17793}" destId="{87B1145D-0AF4-4271-A5D9-C6D439DE7279}" srcOrd="0" destOrd="0" presId="urn:microsoft.com/office/officeart/2005/8/layout/hierarchy4"/>
    <dgm:cxn modelId="{9BBA3E1D-CAC0-43E7-B78F-903E01FC8148}" srcId="{F302CB54-ADC2-433E-890C-78FCF794313A}" destId="{A1B47FDA-48EB-460E-9EA9-C1FFC7F087F8}" srcOrd="4" destOrd="0" parTransId="{C15FCA66-FF1D-4D04-ABD6-D8A98594299B}" sibTransId="{DA99068B-5E45-410D-8068-7E9AE037168A}"/>
    <dgm:cxn modelId="{021E06C7-B5B7-4F29-9003-90AC1BA72DA5}" type="presOf" srcId="{B79205C9-88CB-4CD3-AF54-F7DF0D10BABF}" destId="{A364EF17-8BC8-4609-9DC0-EFA95BC4700C}" srcOrd="0" destOrd="0" presId="urn:microsoft.com/office/officeart/2005/8/layout/hierarchy4"/>
    <dgm:cxn modelId="{DF321BD2-3120-4CEC-979A-0C4C31C3C14D}" type="presOf" srcId="{7A80C44F-C256-4784-A7E0-7DC9822CA587}" destId="{3ED49043-29E7-4BBC-86E3-7DC64D882336}" srcOrd="0" destOrd="0" presId="urn:microsoft.com/office/officeart/2005/8/layout/hierarchy4"/>
    <dgm:cxn modelId="{77ADE877-69B7-4C01-A587-3EA06D004C9B}" type="presOf" srcId="{46B86AE4-E6A9-472A-80F2-86F7350348BA}" destId="{55108962-F779-40E9-A22C-763D4069C424}" srcOrd="0" destOrd="0" presId="urn:microsoft.com/office/officeart/2005/8/layout/hierarchy4"/>
    <dgm:cxn modelId="{8095639E-204D-4E5F-AA0C-19AD81F5E123}" srcId="{2A59CD85-458E-49D4-9ADF-D95CAAAF81C8}" destId="{A513F00B-9596-4CA9-8DBE-9691B926C9B0}" srcOrd="25" destOrd="0" parTransId="{55E30525-45C3-40DB-8BF9-01901D97DEAC}" sibTransId="{34679CB8-F16D-4E1C-9F0D-DC0A54A38ADD}"/>
    <dgm:cxn modelId="{9B0EE819-E054-48FF-ACD0-AA3E8A70A2A9}" srcId="{CBD617BF-5B0F-44E8-8D5D-86AE9D05B5AA}" destId="{B86604B5-DEAA-4A3D-96A5-43D6B62C4E86}" srcOrd="25" destOrd="0" parTransId="{AE9C5D8C-31BA-43C1-B99A-09AB403CE382}" sibTransId="{5A79C451-F6DF-40D3-AC79-35BE7701D19C}"/>
    <dgm:cxn modelId="{3A6AAFD5-ECE3-4197-B593-8F757CD39F32}" type="presOf" srcId="{DE7967FF-F145-449D-98A6-64158A2381B4}" destId="{99015059-36D6-478F-9D2D-F2C276ECB7CC}" srcOrd="0" destOrd="0" presId="urn:microsoft.com/office/officeart/2005/8/layout/hierarchy4"/>
    <dgm:cxn modelId="{DC358340-F7CF-4F00-B8B6-EDEF98AFFA05}" type="presOf" srcId="{556A9ECF-4736-4089-931B-49850BA7C3CA}" destId="{E4D8F296-6C55-4120-9CC3-EECCB900B234}" srcOrd="0" destOrd="0" presId="urn:microsoft.com/office/officeart/2005/8/layout/hierarchy4"/>
    <dgm:cxn modelId="{2F8F0507-9B68-4756-818D-9314797730C4}" type="presOf" srcId="{CB962011-A01D-4831-BDE8-98CDA5AAEF0D}" destId="{6A0B5389-43C3-4675-BE54-52D2CCE3D5E5}" srcOrd="0" destOrd="0" presId="urn:microsoft.com/office/officeart/2005/8/layout/hierarchy4"/>
    <dgm:cxn modelId="{02662D95-DDE4-4DE9-8051-222BE5023B03}" type="presOf" srcId="{8C3D93C8-DB72-48D0-8097-8974E9CC3FE0}" destId="{8835036C-3951-418C-AD84-34BFCDDB87E1}" srcOrd="0" destOrd="0" presId="urn:microsoft.com/office/officeart/2005/8/layout/hierarchy4"/>
    <dgm:cxn modelId="{BB4016F0-697C-4A22-B5ED-96AD44C180C5}" srcId="{2A59CD85-458E-49D4-9ADF-D95CAAAF81C8}" destId="{E226EA3E-5102-4521-A24C-CB6C2C44DB38}" srcOrd="10" destOrd="0" parTransId="{7EAB8CEC-B84C-4DE9-9DE2-8A0EAE3E502C}" sibTransId="{5114796E-4FF7-49EF-8211-C30DBAB34C6C}"/>
    <dgm:cxn modelId="{36214951-30C3-4A28-B854-23C6411F3AFF}" type="presOf" srcId="{FBB096D8-601A-4F3F-A603-A4BEA97AD825}" destId="{ED9D7A6D-27F6-4122-BB52-8FF977A60715}" srcOrd="0" destOrd="0" presId="urn:microsoft.com/office/officeart/2005/8/layout/hierarchy4"/>
    <dgm:cxn modelId="{7FA5CB3C-6653-413F-89A5-59563A57B9E6}" type="presOf" srcId="{A1B47FDA-48EB-460E-9EA9-C1FFC7F087F8}" destId="{0484FEF3-80BB-466E-AB48-804D8214DFD7}" srcOrd="0" destOrd="0" presId="urn:microsoft.com/office/officeart/2005/8/layout/hierarchy4"/>
    <dgm:cxn modelId="{859F6B01-8A3E-424E-9177-F5DBDC68CF41}" type="presOf" srcId="{5EE9F4C9-2599-49B6-8ECD-0BB37D2C3F87}" destId="{981B53A0-BE63-4441-BE65-954B3C83BA2A}" srcOrd="0" destOrd="0" presId="urn:microsoft.com/office/officeart/2005/8/layout/hierarchy4"/>
    <dgm:cxn modelId="{9D47C42C-6AC9-42FF-B322-F24E0754CF1B}" type="presOf" srcId="{9C9361CC-FE51-4F6F-B6A8-DF6E0E78E0F7}" destId="{E3CB98F3-BC66-45DA-AF15-1D22B0730B22}" srcOrd="0" destOrd="0" presId="urn:microsoft.com/office/officeart/2005/8/layout/hierarchy4"/>
    <dgm:cxn modelId="{92C88B37-0D43-4E46-A4CA-B33C4200B8BE}" srcId="{CBD617BF-5B0F-44E8-8D5D-86AE9D05B5AA}" destId="{1E014006-3D55-4EE5-AD4E-479CD8866008}" srcOrd="5" destOrd="0" parTransId="{568E23CE-CD23-41F9-8A49-D4E5D77CEA3B}" sibTransId="{2B1A5490-387D-4F75-B281-7AA524293143}"/>
    <dgm:cxn modelId="{76833F68-EC9D-43EF-A629-9646643757EB}" type="presOf" srcId="{2A59CD85-458E-49D4-9ADF-D95CAAAF81C8}" destId="{C55AC12B-0CD1-4BF4-9381-43DE229D9EE8}" srcOrd="0" destOrd="0" presId="urn:microsoft.com/office/officeart/2005/8/layout/hierarchy4"/>
    <dgm:cxn modelId="{61592D6E-980E-4D09-97E6-F68C2C84D980}" srcId="{CB67C5BD-2EC7-451A-845C-CECDCA14A61B}" destId="{03EFEE35-ADD7-47D7-9A9F-16D5B9BDCBFB}" srcOrd="0" destOrd="0" parTransId="{0EA02642-6C6C-40FA-9247-708B3D185D65}" sibTransId="{2659E7BE-224E-43FB-827E-6A3E5EC3B983}"/>
    <dgm:cxn modelId="{D3F92BBD-4362-475E-B8CC-783ABF3A7A7C}" type="presOf" srcId="{CBD617BF-5B0F-44E8-8D5D-86AE9D05B5AA}" destId="{9E8A0697-F9F0-4264-AC3A-FA37DF543CBD}" srcOrd="0" destOrd="0" presId="urn:microsoft.com/office/officeart/2005/8/layout/hierarchy4"/>
    <dgm:cxn modelId="{9ADC4364-8D9D-4ADA-A2A5-1DEEDC96BA3E}" srcId="{CBD617BF-5B0F-44E8-8D5D-86AE9D05B5AA}" destId="{9A48FB60-8B1C-4DF6-A844-47408D5A166C}" srcOrd="6" destOrd="0" parTransId="{245E4309-DBB0-48F6-894A-418D80DF2C91}" sibTransId="{6C0656F4-2284-4DC9-ACDD-F1BDCBE6F919}"/>
    <dgm:cxn modelId="{129C5B4A-31A0-4016-9F78-8F294B1CC180}" srcId="{2A59CD85-458E-49D4-9ADF-D95CAAAF81C8}" destId="{F97AE781-5E02-4F6A-A5A2-4BED3F93526F}" srcOrd="7" destOrd="0" parTransId="{BB6C5601-1CDA-4B6A-9FEF-C9C000D4098D}" sibTransId="{5AC71A4C-1984-473F-83FF-B4A7A733E251}"/>
    <dgm:cxn modelId="{BD00B04A-CE73-4B1C-8083-DAA73E2F98F4}" srcId="{CBD617BF-5B0F-44E8-8D5D-86AE9D05B5AA}" destId="{99517A22-4718-4F66-9A55-934AD0B68D90}" srcOrd="13" destOrd="0" parTransId="{02061AD7-D059-40D8-8030-8BC42DBE1C01}" sibTransId="{31D12949-E409-473C-956C-9B7F123BFA0B}"/>
    <dgm:cxn modelId="{47FD6CB2-2E8C-43AB-A794-62965A91EC39}" type="presOf" srcId="{C22E2E36-6DC9-478C-AD5F-377674B6197C}" destId="{BA1ACC70-9181-4C6E-B8CC-A153DF4F3F5A}" srcOrd="0" destOrd="0" presId="urn:microsoft.com/office/officeart/2005/8/layout/hierarchy4"/>
    <dgm:cxn modelId="{69F799A1-B5A0-4BD5-A727-6FD66201B086}" type="presOf" srcId="{70803910-308B-4499-940E-7A989F55B242}" destId="{5D638F10-CB4F-46DF-B3D3-1696F0B7D3D2}" srcOrd="0" destOrd="0" presId="urn:microsoft.com/office/officeart/2005/8/layout/hierarchy4"/>
    <dgm:cxn modelId="{571888E8-EF16-44F0-9662-412AF8A425FB}" type="presOf" srcId="{A513F00B-9596-4CA9-8DBE-9691B926C9B0}" destId="{0BCA77FD-E046-461D-B327-59DCFFA6FD91}" srcOrd="0" destOrd="0" presId="urn:microsoft.com/office/officeart/2005/8/layout/hierarchy4"/>
    <dgm:cxn modelId="{794B798F-651E-4670-ABEB-8AD325751888}" srcId="{CBD617BF-5B0F-44E8-8D5D-86AE9D05B5AA}" destId="{DD9489E3-89A0-4881-BC91-435FD3509360}" srcOrd="30" destOrd="0" parTransId="{D10D7042-5001-467D-94A8-EB297722D902}" sibTransId="{0D4E1D85-37B2-40D7-9604-C47B47DEA1D3}"/>
    <dgm:cxn modelId="{642AD2CE-7AF4-4827-BC14-D2E9FCCF894A}" type="presOf" srcId="{23CF3FEC-A201-4FD8-8C0C-AA87DA5BBFCC}" destId="{CF04E266-3C1F-4F0F-8ECB-91CBFF2A270A}" srcOrd="0" destOrd="0" presId="urn:microsoft.com/office/officeart/2005/8/layout/hierarchy4"/>
    <dgm:cxn modelId="{1023D706-6917-445F-AA90-646F870A90D3}" type="presOf" srcId="{EA2853BC-CCAE-4602-8C2E-FDA8966FF6F8}" destId="{E9898476-B872-4E96-8E6B-4639DC1E1EAF}" srcOrd="0" destOrd="0" presId="urn:microsoft.com/office/officeart/2005/8/layout/hierarchy4"/>
    <dgm:cxn modelId="{7D92855C-ECC5-47F4-AA39-DAE02B2AC7B3}" type="presOf" srcId="{BD7C8486-9791-42A7-9BE2-94C8AA5C5D8F}" destId="{9D132697-72A0-4576-A6CD-3FADA3569E4E}" srcOrd="0" destOrd="0" presId="urn:microsoft.com/office/officeart/2005/8/layout/hierarchy4"/>
    <dgm:cxn modelId="{F9D5C2BB-37E9-4A3D-99C7-ED6968AA394A}" type="presOf" srcId="{17E2BEE8-9023-4AAC-AD05-4AC0C3BE7EB6}" destId="{B7EC48C7-F961-4987-A7DF-CC315C44A814}" srcOrd="0" destOrd="0" presId="urn:microsoft.com/office/officeart/2005/8/layout/hierarchy4"/>
    <dgm:cxn modelId="{56CB52F2-8220-4E9F-AD33-DD30D4DAB613}" srcId="{A740C59B-5275-452E-A17B-4F65422D4714}" destId="{BD7C8486-9791-42A7-9BE2-94C8AA5C5D8F}" srcOrd="11" destOrd="0" parTransId="{1FCF391C-AE56-4C19-81DA-049B1D21BE7E}" sibTransId="{60A9041E-E6A1-4A53-9429-25F784793F4F}"/>
    <dgm:cxn modelId="{A5A604EB-3825-48DD-BD72-76D3AA740B2D}" type="presOf" srcId="{2DB36196-5045-4FF2-A7B8-91920A383148}" destId="{06466438-6FC9-465C-AA86-A61300E5A226}" srcOrd="0" destOrd="0" presId="urn:microsoft.com/office/officeart/2005/8/layout/hierarchy4"/>
    <dgm:cxn modelId="{F786BACB-52AB-463F-9E55-9027B33C1123}" type="presOf" srcId="{094ABEE8-62AE-4F18-B59F-0D8D215874A1}" destId="{D8D2ED38-F748-4289-8E77-4DDF823BBBBC}" srcOrd="0" destOrd="0" presId="urn:microsoft.com/office/officeart/2005/8/layout/hierarchy4"/>
    <dgm:cxn modelId="{9B171D20-629E-46CF-88D6-500B3A40E674}" srcId="{B79205C9-88CB-4CD3-AF54-F7DF0D10BABF}" destId="{E5A5A145-DEAC-43AC-A692-E937AE7A41BE}" srcOrd="0" destOrd="0" parTransId="{3537E978-F6B9-47D3-B6F2-814A28DE770D}" sibTransId="{284B04FE-9E2C-42C1-8DDA-A29295B22AF1}"/>
    <dgm:cxn modelId="{6FF162F6-1549-4C24-A561-5F3C9760A5E4}" srcId="{2A59CD85-458E-49D4-9ADF-D95CAAAF81C8}" destId="{1FAD0389-CA86-4B9A-9DF8-630A1570B3E9}" srcOrd="2" destOrd="0" parTransId="{4415D2BF-386F-4264-9B06-85FFB4C257EC}" sibTransId="{339095E4-C44A-4FF2-8B26-D3C0F77EF5BF}"/>
    <dgm:cxn modelId="{98414EA9-ECDE-4471-AD2D-0761C798617D}" type="presOf" srcId="{E7EB3BC9-39E5-4B58-8BC9-2B4A2A2A1E80}" destId="{D1EF3942-842E-42C7-8026-E3C76461607B}" srcOrd="0" destOrd="0" presId="urn:microsoft.com/office/officeart/2005/8/layout/hierarchy4"/>
    <dgm:cxn modelId="{8B43DEA0-6A8F-4DDE-9C98-9A107F0F03F9}" srcId="{2A59CD85-458E-49D4-9ADF-D95CAAAF81C8}" destId="{8CEB72ED-CD58-4818-9E18-1A7F39C30851}" srcOrd="21" destOrd="0" parTransId="{FCE36E33-FC4D-4063-83F7-F3C95977DAF4}" sibTransId="{BEE3F568-8E43-4681-A712-8A900700ABB5}"/>
    <dgm:cxn modelId="{D638A310-8EA9-4F96-B8AB-27814C54DD76}" type="presOf" srcId="{A740C59B-5275-452E-A17B-4F65422D4714}" destId="{300CF3CC-CDD8-4957-8CBF-61F332586F7B}" srcOrd="0" destOrd="0" presId="urn:microsoft.com/office/officeart/2005/8/layout/hierarchy4"/>
    <dgm:cxn modelId="{FA4CF18E-38E6-4586-93C7-A071E0FC3E58}" type="presOf" srcId="{E2E3B856-9B90-4BA8-832C-D568F5F9988D}" destId="{BC30F1AC-DEE0-424F-B63E-6AFEE0DBE781}" srcOrd="0" destOrd="0" presId="urn:microsoft.com/office/officeart/2005/8/layout/hierarchy4"/>
    <dgm:cxn modelId="{21936FEC-DFE2-40EF-B63B-CE1581316EDF}" type="presOf" srcId="{F302CB54-ADC2-433E-890C-78FCF794313A}" destId="{7525039D-75EC-4B94-990A-03D130D61B9F}" srcOrd="0" destOrd="0" presId="urn:microsoft.com/office/officeart/2005/8/layout/hierarchy4"/>
    <dgm:cxn modelId="{89AFD957-F631-452E-BA7E-AE0F780E6E34}" type="presOf" srcId="{FA5A1A6B-8D40-4149-898B-2E19DC9AAEA1}" destId="{4F4A972E-72CA-4840-B62A-B0BADCE79ED7}" srcOrd="0" destOrd="0" presId="urn:microsoft.com/office/officeart/2005/8/layout/hierarchy4"/>
    <dgm:cxn modelId="{D7E683C2-C3AD-4DB7-8CFD-2E33F21ADDD1}" srcId="{2A59CD85-458E-49D4-9ADF-D95CAAAF81C8}" destId="{F9E0F2FF-AAE3-4366-8130-773ACB89D1DB}" srcOrd="12" destOrd="0" parTransId="{DEDB0C53-6491-4E1E-B98D-0C4AE42F1739}" sibTransId="{23A2CB14-291F-4F33-8CBA-0EB812D8ACE8}"/>
    <dgm:cxn modelId="{4A71E84F-C128-4F8B-8464-C8BE3584E8B7}" srcId="{2A59CD85-458E-49D4-9ADF-D95CAAAF81C8}" destId="{2DB36196-5045-4FF2-A7B8-91920A383148}" srcOrd="9" destOrd="0" parTransId="{609EACCF-11E8-4DCA-B459-76E26E401363}" sibTransId="{CA5540A7-C468-490A-B908-B74FAD8C7634}"/>
    <dgm:cxn modelId="{14369FFC-B1D6-4F54-8E4A-2C25E578E06B}" type="presOf" srcId="{CB67C5BD-2EC7-451A-845C-CECDCA14A61B}" destId="{DD170533-D0CE-402B-946C-BC803D35F61B}" srcOrd="0" destOrd="0" presId="urn:microsoft.com/office/officeart/2005/8/layout/hierarchy4"/>
    <dgm:cxn modelId="{5D9BCB13-388A-491E-BD57-30058C076C23}" srcId="{CBD617BF-5B0F-44E8-8D5D-86AE9D05B5AA}" destId="{C1767B94-BBE7-4919-A83B-39C49EBB95CF}" srcOrd="0" destOrd="0" parTransId="{5E762661-884F-4AAC-B274-1E4D2ECC0C83}" sibTransId="{E7F430CB-288E-4587-9D2A-CE28D6DD2807}"/>
    <dgm:cxn modelId="{EB504198-6DB9-4E1C-A955-BDDA8A4BC1BE}" srcId="{CB962011-A01D-4831-BDE8-98CDA5AAEF0D}" destId="{F302CB54-ADC2-433E-890C-78FCF794313A}" srcOrd="0" destOrd="0" parTransId="{75CFEF82-0647-4D46-A0D8-88AEF6BFF3D7}" sibTransId="{D498996A-28B9-485D-ADEC-03590F459170}"/>
    <dgm:cxn modelId="{4143B6A5-899B-4D63-82C1-38257824997E}" srcId="{2A59CD85-458E-49D4-9ADF-D95CAAAF81C8}" destId="{3E5C0A3D-7CAE-4EEC-AEEB-D474A919245E}" srcOrd="14" destOrd="0" parTransId="{32223767-62D2-446F-9DE4-3A49EC77EE03}" sibTransId="{AC2ADDBD-B25A-4147-9869-B701568DE5EC}"/>
    <dgm:cxn modelId="{36E76150-9B1F-4E6C-B32C-A94BEC8B3AB8}" srcId="{2A59CD85-458E-49D4-9ADF-D95CAAAF81C8}" destId="{59F6F7B8-5289-4B65-A04B-3F79F4B4EE76}" srcOrd="0" destOrd="0" parTransId="{1E0CF566-1ADC-485D-931D-5F2820B683C4}" sibTransId="{2E30BBD9-D13F-47F3-A433-B188A99F8B3E}"/>
    <dgm:cxn modelId="{27554922-B91D-4705-9077-8EBA586B1127}" type="presOf" srcId="{C1767B94-BBE7-4919-A83B-39C49EBB95CF}" destId="{C9764691-399A-46B8-9CBE-03F2950E5EE6}" srcOrd="0" destOrd="0" presId="urn:microsoft.com/office/officeart/2005/8/layout/hierarchy4"/>
    <dgm:cxn modelId="{E22B4ADF-5DC6-43BE-98FB-3DADA3F82DA3}" srcId="{CBD617BF-5B0F-44E8-8D5D-86AE9D05B5AA}" destId="{9C9361CC-FE51-4F6F-B6A8-DF6E0E78E0F7}" srcOrd="27" destOrd="0" parTransId="{EB07B378-FEDD-463A-8879-63E68CB72789}" sibTransId="{91B96BDC-37E7-47B7-8BDC-E26167650C3A}"/>
    <dgm:cxn modelId="{6C1D717C-CBF4-47BA-83AA-B8D6F90BBDD1}" srcId="{2A59CD85-458E-49D4-9ADF-D95CAAAF81C8}" destId="{7932597D-7F34-4283-8CA5-B4E22EFABD74}" srcOrd="8" destOrd="0" parTransId="{D41FC782-8B7B-4060-8A44-799AB43A2B5D}" sibTransId="{576A7E52-2ECC-4F63-88B5-A18E3931C464}"/>
    <dgm:cxn modelId="{696D827E-7103-47AC-BE72-A79319812BD2}" type="presOf" srcId="{850BFAEB-B241-4575-B7D6-F8675B28D3C9}" destId="{AE0774D0-FB4F-4139-A60F-B607DEF3872B}" srcOrd="0" destOrd="0" presId="urn:microsoft.com/office/officeart/2005/8/layout/hierarchy4"/>
    <dgm:cxn modelId="{22AFAA45-C05C-4942-B4C3-097EEC1180DC}" srcId="{F302CB54-ADC2-433E-890C-78FCF794313A}" destId="{8C3D93C8-DB72-48D0-8097-8974E9CC3FE0}" srcOrd="3" destOrd="0" parTransId="{8BE9337F-C5BC-4B9B-89CC-A53536BEA7EA}" sibTransId="{C0ECD273-58E7-4014-B0FB-BAF6CBD7DAFF}"/>
    <dgm:cxn modelId="{FD06271E-4EA4-4691-9F78-21290297F79E}" type="presOf" srcId="{15858814-A724-442E-A125-A80D28948050}" destId="{F783456F-55BA-48F3-946C-335CB438F782}" srcOrd="0" destOrd="0" presId="urn:microsoft.com/office/officeart/2005/8/layout/hierarchy4"/>
    <dgm:cxn modelId="{25D63B9D-3C4A-4914-8034-EC1D4579D291}" type="presOf" srcId="{99517A22-4718-4F66-9A55-934AD0B68D90}" destId="{7659B58F-472D-49E2-9DC7-E64F55706520}" srcOrd="0" destOrd="0" presId="urn:microsoft.com/office/officeart/2005/8/layout/hierarchy4"/>
    <dgm:cxn modelId="{2587BA4C-BD15-49BE-A9D1-EB8DC3A57984}" type="presOf" srcId="{5F8757A5-463E-4B88-97EC-DB3CBA442D9E}" destId="{B7327A70-9E6A-451A-81B9-AE500F196E75}" srcOrd="0" destOrd="0" presId="urn:microsoft.com/office/officeart/2005/8/layout/hierarchy4"/>
    <dgm:cxn modelId="{FD26C705-39A0-427F-83C6-4B02EA9A407A}" type="presOf" srcId="{824F47FA-C059-45CA-8100-E9A9E798682A}" destId="{956AF648-3F93-41DF-8180-2B82526844F8}" srcOrd="0" destOrd="0" presId="urn:microsoft.com/office/officeart/2005/8/layout/hierarchy4"/>
    <dgm:cxn modelId="{AA54A104-B7A2-49F1-9066-FA26FB37A2E8}" srcId="{CBD617BF-5B0F-44E8-8D5D-86AE9D05B5AA}" destId="{1F94D81B-9139-4C7D-8A25-C6E46482E30F}" srcOrd="8" destOrd="0" parTransId="{5B1347DB-0255-43F7-B256-3C4FC33FEFF3}" sibTransId="{1F3CC8A2-FC03-4D00-833F-9432B9F26FEE}"/>
    <dgm:cxn modelId="{2E65FAA0-3BDC-4336-8B91-53932E961E4B}" srcId="{2A59CD85-458E-49D4-9ADF-D95CAAAF81C8}" destId="{D0D4AE6B-9837-42A2-8E7B-D459278A9B98}" srcOrd="1" destOrd="0" parTransId="{DD3528A4-FE1D-4603-BCBE-0E06A9C86FC1}" sibTransId="{9CE46057-B56A-42DB-BB6F-136AD95C9F28}"/>
    <dgm:cxn modelId="{AEEC0F0C-2B51-464C-9196-F389A4677EEF}" type="presOf" srcId="{C71563D8-11EC-4FDC-9107-CA24E7C09704}" destId="{348ACDFD-AF55-4D90-B42C-2C91A33C3EE1}" srcOrd="0" destOrd="0" presId="urn:microsoft.com/office/officeart/2005/8/layout/hierarchy4"/>
    <dgm:cxn modelId="{5C0ADB36-9154-49B6-8CA1-CB6B5C721233}" srcId="{CBD617BF-5B0F-44E8-8D5D-86AE9D05B5AA}" destId="{BED6532E-8FC1-408A-B694-E83E77FB3BEB}" srcOrd="23" destOrd="0" parTransId="{F707C646-7631-40D7-AEF3-59308FEC3DB4}" sibTransId="{22554FAD-D0EA-44E5-919E-E51960214DFC}"/>
    <dgm:cxn modelId="{C6D2796D-00D3-4F90-86DF-2B30A330EA61}" type="presOf" srcId="{C013493E-98E2-4B2D-BEC3-9375FE3A3200}" destId="{95D62823-7A03-4916-8E59-B61169A1FBD1}" srcOrd="0" destOrd="0" presId="urn:microsoft.com/office/officeart/2005/8/layout/hierarchy4"/>
    <dgm:cxn modelId="{AC9D5555-5B38-4C54-AA2C-FFEBA07D189A}" type="presOf" srcId="{1FAD0389-CA86-4B9A-9DF8-630A1570B3E9}" destId="{0B07CCEB-AA66-4E76-B431-1428E254EF9A}" srcOrd="0" destOrd="0" presId="urn:microsoft.com/office/officeart/2005/8/layout/hierarchy4"/>
    <dgm:cxn modelId="{763D4888-3503-4D5A-8D1C-140D6FCE1694}" srcId="{2A59CD85-458E-49D4-9ADF-D95CAAAF81C8}" destId="{72A2DB37-7175-47CD-BC01-118D5600554B}" srcOrd="23" destOrd="0" parTransId="{6916AC13-A94E-4098-AA97-107A0685EA79}" sibTransId="{153EA82E-3FBC-4876-B492-3113C35F7C85}"/>
    <dgm:cxn modelId="{45941DE5-60D6-44CC-8EC5-6D353F7B989F}" srcId="{CBD617BF-5B0F-44E8-8D5D-86AE9D05B5AA}" destId="{C0E1F3A0-2007-41F8-902D-FB88A77A945B}" srcOrd="3" destOrd="0" parTransId="{BC611D3D-42E2-47B6-A21A-D25E947864FE}" sibTransId="{D2D31650-1528-44AE-A801-E454ECD32CFD}"/>
    <dgm:cxn modelId="{094EA329-ACDA-4084-88D7-089E19D00241}" type="presOf" srcId="{B86604B5-DEAA-4A3D-96A5-43D6B62C4E86}" destId="{074B8C88-A226-404A-B889-51399F7D6F0E}" srcOrd="0" destOrd="0" presId="urn:microsoft.com/office/officeart/2005/8/layout/hierarchy4"/>
    <dgm:cxn modelId="{AA6E531E-E024-4E23-AEB7-0EBDCEAB2C7B}" type="presOf" srcId="{A4A80994-28F9-4EE8-89FD-45B63E089CC3}" destId="{48EF267A-E4C9-4877-83F8-DF0A4487535B}" srcOrd="0" destOrd="0" presId="urn:microsoft.com/office/officeart/2005/8/layout/hierarchy4"/>
    <dgm:cxn modelId="{EE0FDD8B-8BF1-4586-9D11-917417F15305}" type="presOf" srcId="{59F6F7B8-5289-4B65-A04B-3F79F4B4EE76}" destId="{5A7435AB-0EAE-48A3-9BD9-0F03114061DF}" srcOrd="0" destOrd="0" presId="urn:microsoft.com/office/officeart/2005/8/layout/hierarchy4"/>
    <dgm:cxn modelId="{93495882-42E2-44F7-8A39-AD46E442E08A}" srcId="{F302CB54-ADC2-433E-890C-78FCF794313A}" destId="{23CF3FEC-A201-4FD8-8C0C-AA87DA5BBFCC}" srcOrd="6" destOrd="0" parTransId="{CD07251B-CA1D-44C6-97B3-38839FB6A484}" sibTransId="{E99C93D1-3E63-4395-8F3D-539049079473}"/>
    <dgm:cxn modelId="{B0B59BF7-73DF-43F0-9CB6-9B67FC09EFF0}" srcId="{A740C59B-5275-452E-A17B-4F65422D4714}" destId="{1D9FC025-1E6C-4222-BC64-9179F0AA2EB7}" srcOrd="6" destOrd="0" parTransId="{A5A22273-F5B5-4C4A-BDD0-EA99C2627227}" sibTransId="{49458B59-4923-4356-8FB5-49F8027493E6}"/>
    <dgm:cxn modelId="{FAB461B6-34A2-426D-B1AD-E36A9F104B0E}" srcId="{CBD617BF-5B0F-44E8-8D5D-86AE9D05B5AA}" destId="{C22E2E36-6DC9-478C-AD5F-377674B6197C}" srcOrd="17" destOrd="0" parTransId="{247EC92A-7037-4F4D-B37E-DFD71A1F8102}" sibTransId="{BA88CD6D-6C28-482C-9695-F0BBABDE9B9D}"/>
    <dgm:cxn modelId="{D2DD70DA-C10F-47CB-9A73-970F9A0E3312}" srcId="{2A59CD85-458E-49D4-9ADF-D95CAAAF81C8}" destId="{B1D89FBB-354E-43DC-8BD2-C3AAEDAF58DA}" srcOrd="3" destOrd="0" parTransId="{2E9D3826-AF6D-43F9-91E9-6F1D802707B9}" sibTransId="{8FCC7F70-1D75-4986-B561-54909FE8EBEE}"/>
    <dgm:cxn modelId="{97C46255-2DBB-41CE-A37A-9471EDDD99AC}" srcId="{F302CB54-ADC2-433E-890C-78FCF794313A}" destId="{29D0C570-B90B-434C-BC13-8F2DA69FFE97}" srcOrd="7" destOrd="0" parTransId="{7354B081-B85D-4407-B0E2-6F459FE039A5}" sibTransId="{3E563001-E960-422A-9243-6A4F0932EF15}"/>
    <dgm:cxn modelId="{003327C8-B7DD-4D56-BE6D-98D5A54F1107}" srcId="{F302CB54-ADC2-433E-890C-78FCF794313A}" destId="{824F47FA-C059-45CA-8100-E9A9E798682A}" srcOrd="1" destOrd="0" parTransId="{7A29D4EE-BFEE-4119-A2F6-1852DC698B19}" sibTransId="{2D658AAE-B6B8-4B44-B046-75EFFA7E83D0}"/>
    <dgm:cxn modelId="{683916F2-18EC-4DB8-8EA1-B2B9038F3B92}" type="presOf" srcId="{D0D4AE6B-9837-42A2-8E7B-D459278A9B98}" destId="{8DFEF4C6-66E1-457A-916F-64179C4E5A9B}" srcOrd="0" destOrd="0" presId="urn:microsoft.com/office/officeart/2005/8/layout/hierarchy4"/>
    <dgm:cxn modelId="{C0904952-66F2-4038-9ABF-FC27F1E6F29F}" type="presOf" srcId="{DBDB9F9F-E999-458A-81B3-88BF59A6B2CD}" destId="{1E52C614-1246-4A76-95E3-A2B48CD86314}" srcOrd="0" destOrd="0" presId="urn:microsoft.com/office/officeart/2005/8/layout/hierarchy4"/>
    <dgm:cxn modelId="{4A21A6D0-BB5E-4E31-97ED-6C3BDFFB2CF1}" type="presOf" srcId="{B9D76A61-0BDC-4C7B-B330-651B48689A8E}" destId="{FDF48581-FF8C-4786-8361-11578A320553}" srcOrd="0" destOrd="0" presId="urn:microsoft.com/office/officeart/2005/8/layout/hierarchy4"/>
    <dgm:cxn modelId="{9E3DB841-9EA7-4C6E-B2CE-50A152A458ED}" srcId="{2A59CD85-458E-49D4-9ADF-D95CAAAF81C8}" destId="{FFBF19EB-AD26-4AE4-8646-7FC634809800}" srcOrd="5" destOrd="0" parTransId="{DBC4203D-EEBC-446E-AAE0-A80963B91BFD}" sibTransId="{DAEDBA6F-87A6-41A1-A545-65E7EEA60FD3}"/>
    <dgm:cxn modelId="{CCA41D3F-6874-46F2-BEB0-0E3630A0B22D}" srcId="{CBD617BF-5B0F-44E8-8D5D-86AE9D05B5AA}" destId="{B9D76A61-0BDC-4C7B-B330-651B48689A8E}" srcOrd="20" destOrd="0" parTransId="{0566A75B-000F-4472-B081-631A4CCC2E31}" sibTransId="{63C184FB-AC5A-4112-80BD-A56DECC1C5AE}"/>
    <dgm:cxn modelId="{D52CF779-9765-4EE5-A268-0FBC5F725AA9}" type="presOf" srcId="{B6A8E937-0DD2-4105-8D62-061DD73BD8C7}" destId="{6DB7A01E-0D13-40A6-9A12-6510D1C6BE60}" srcOrd="0" destOrd="0" presId="urn:microsoft.com/office/officeart/2005/8/layout/hierarchy4"/>
    <dgm:cxn modelId="{473009CA-58F1-49C3-81BD-DAE22BB22DE5}" type="presOf" srcId="{3E5C0A3D-7CAE-4EEC-AEEB-D474A919245E}" destId="{5E00F13C-3E1F-476C-8759-D090A25C8392}" srcOrd="0" destOrd="0" presId="urn:microsoft.com/office/officeart/2005/8/layout/hierarchy4"/>
    <dgm:cxn modelId="{FAAB4973-9505-47A6-B9C6-50B07A7147FA}" srcId="{CBD617BF-5B0F-44E8-8D5D-86AE9D05B5AA}" destId="{4D270442-3445-4A52-A0F8-BD7165E237CF}" srcOrd="7" destOrd="0" parTransId="{143D3230-D9BE-4DE7-A615-2B403E984A0D}" sibTransId="{8D535F41-A26A-4F0E-9B06-A34102D318F1}"/>
    <dgm:cxn modelId="{9D7B3B6A-5328-4D1A-9476-867AF255A75A}" type="presOf" srcId="{29D0C570-B90B-434C-BC13-8F2DA69FFE97}" destId="{EFA85F0F-A555-42DB-B683-6C7318384ED3}" srcOrd="0" destOrd="0" presId="urn:microsoft.com/office/officeart/2005/8/layout/hierarchy4"/>
    <dgm:cxn modelId="{60DBE7C8-42CA-4489-BA41-0718F8439CCE}" type="presOf" srcId="{0C23D059-1E68-4F6A-96A1-26F7B8211E04}" destId="{D0B21097-AD73-408B-8FDD-9A39020FFE01}" srcOrd="0" destOrd="0" presId="urn:microsoft.com/office/officeart/2005/8/layout/hierarchy4"/>
    <dgm:cxn modelId="{810368A0-6B32-4C5E-8854-60F3EED24A64}" type="presOf" srcId="{65A9A385-2779-453E-8097-D1B6D4F42443}" destId="{F02FB910-ADDF-4AC5-A639-4073D8E42C11}" srcOrd="0" destOrd="0" presId="urn:microsoft.com/office/officeart/2005/8/layout/hierarchy4"/>
    <dgm:cxn modelId="{2849BA4C-FBE2-44F3-87B4-98C626653D28}" srcId="{A740C59B-5275-452E-A17B-4F65422D4714}" destId="{F1804E83-ABB7-4EDA-AAD0-21C5EECE2FD5}" srcOrd="8" destOrd="0" parTransId="{D946D0BF-71C3-4B24-87D9-9930F249EE0D}" sibTransId="{9E559515-5831-4857-AA04-86866A5CB42B}"/>
    <dgm:cxn modelId="{0A632783-6383-4ECB-8D2B-B0D96ED573FD}" srcId="{CBD617BF-5B0F-44E8-8D5D-86AE9D05B5AA}" destId="{41102D3E-3CD6-4D25-9DAB-8904E5DA574A}" srcOrd="28" destOrd="0" parTransId="{4F5E55D7-98B3-4EA2-AD72-205C3B26F3FF}" sibTransId="{C0D0F109-C980-40F3-A7EF-B6E196F07D6D}"/>
    <dgm:cxn modelId="{EA13179E-7CC3-4C97-8154-11EEF6F84989}" type="presOf" srcId="{1A45ED5A-C37E-4848-8B37-1BD715801ED1}" destId="{0312C5BC-A03D-4651-B2E9-DA6D0FE4A3C1}" srcOrd="0" destOrd="0" presId="urn:microsoft.com/office/officeart/2005/8/layout/hierarchy4"/>
    <dgm:cxn modelId="{AD383B9E-A306-4415-90F6-AD6A44D1DD25}" type="presOf" srcId="{DC77AB2F-5AA5-4501-8AD8-34EA89473011}" destId="{48736913-BC95-4CB6-B20E-8675B0283067}" srcOrd="0" destOrd="0" presId="urn:microsoft.com/office/officeart/2005/8/layout/hierarchy4"/>
    <dgm:cxn modelId="{8F65EAD3-410F-4101-B50C-F9C26CC8E961}" type="presOf" srcId="{93B9F80F-01B9-433A-8A06-2917E6BFD2D8}" destId="{DC490CB3-BB1A-4B9E-8AA5-5C705DC7A072}" srcOrd="0" destOrd="0" presId="urn:microsoft.com/office/officeart/2005/8/layout/hierarchy4"/>
    <dgm:cxn modelId="{585F0F80-6FF0-4049-9262-090AB1E1268B}" type="presOf" srcId="{F9E0F2FF-AAE3-4366-8130-773ACB89D1DB}" destId="{6F070F02-522B-4806-862C-30037E8CEB58}" srcOrd="0" destOrd="0" presId="urn:microsoft.com/office/officeart/2005/8/layout/hierarchy4"/>
    <dgm:cxn modelId="{D6D47DA4-0566-4176-9884-7F330704B4B0}" type="presOf" srcId="{9A48FB60-8B1C-4DF6-A844-47408D5A166C}" destId="{4B29C9AA-6D44-4047-84B4-7082061779FB}" srcOrd="0" destOrd="0" presId="urn:microsoft.com/office/officeart/2005/8/layout/hierarchy4"/>
    <dgm:cxn modelId="{AD3FF40B-774A-4532-A914-05A85F57D04A}" srcId="{F302CB54-ADC2-433E-890C-78FCF794313A}" destId="{B74E292A-CC26-4C91-82A9-1F0A90EF2088}" srcOrd="2" destOrd="0" parTransId="{146E6E90-982C-4E62-9DC5-C24E0719E6AA}" sibTransId="{B5FB46DC-CAF2-46FF-BD4B-87F0390BE185}"/>
    <dgm:cxn modelId="{81EDD6E5-C09F-481B-82DE-44349316E970}" type="presParOf" srcId="{5D638F10-CB4F-46DF-B3D3-1696F0B7D3D2}" destId="{14A1CBB3-0E6D-4C2F-AE07-9D9747775084}" srcOrd="0" destOrd="0" presId="urn:microsoft.com/office/officeart/2005/8/layout/hierarchy4"/>
    <dgm:cxn modelId="{5D7FDB4F-2958-4E7F-9F13-63B4D02799F6}" type="presParOf" srcId="{14A1CBB3-0E6D-4C2F-AE07-9D9747775084}" destId="{6A0B5389-43C3-4675-BE54-52D2CCE3D5E5}" srcOrd="0" destOrd="0" presId="urn:microsoft.com/office/officeart/2005/8/layout/hierarchy4"/>
    <dgm:cxn modelId="{887BE884-F5E1-4ED4-948F-ADC99C25E054}" type="presParOf" srcId="{14A1CBB3-0E6D-4C2F-AE07-9D9747775084}" destId="{8A4F9686-CA36-4066-91F4-C9B2D283A909}" srcOrd="1" destOrd="0" presId="urn:microsoft.com/office/officeart/2005/8/layout/hierarchy4"/>
    <dgm:cxn modelId="{D0CF892B-E374-4F7C-88AB-EEDB79E4AC1F}" type="presParOf" srcId="{14A1CBB3-0E6D-4C2F-AE07-9D9747775084}" destId="{458CB0AF-613D-4120-A15A-324830455AF9}" srcOrd="2" destOrd="0" presId="urn:microsoft.com/office/officeart/2005/8/layout/hierarchy4"/>
    <dgm:cxn modelId="{4824C787-919D-43C8-A094-E5511FA0B5E9}" type="presParOf" srcId="{458CB0AF-613D-4120-A15A-324830455AF9}" destId="{C7B0B6D7-3EB7-4537-ACBB-9893EF2116BE}" srcOrd="0" destOrd="0" presId="urn:microsoft.com/office/officeart/2005/8/layout/hierarchy4"/>
    <dgm:cxn modelId="{847F35E8-49CE-4AA1-A988-C0C3E7957B15}" type="presParOf" srcId="{C7B0B6D7-3EB7-4537-ACBB-9893EF2116BE}" destId="{7525039D-75EC-4B94-990A-03D130D61B9F}" srcOrd="0" destOrd="0" presId="urn:microsoft.com/office/officeart/2005/8/layout/hierarchy4"/>
    <dgm:cxn modelId="{7F7963C4-5036-4899-835B-02EBF22338E0}" type="presParOf" srcId="{C7B0B6D7-3EB7-4537-ACBB-9893EF2116BE}" destId="{00672D72-87C6-4D86-8A2D-C3F11D1C299D}" srcOrd="1" destOrd="0" presId="urn:microsoft.com/office/officeart/2005/8/layout/hierarchy4"/>
    <dgm:cxn modelId="{EB7F8476-E3B4-48C2-AE7D-DF5FCE349C45}" type="presParOf" srcId="{C7B0B6D7-3EB7-4537-ACBB-9893EF2116BE}" destId="{B7ED7CF1-2A10-4F2B-A297-1257F9AFD3AB}" srcOrd="2" destOrd="0" presId="urn:microsoft.com/office/officeart/2005/8/layout/hierarchy4"/>
    <dgm:cxn modelId="{0D5EDC3F-02A9-404B-8E01-6080FA65DFD7}" type="presParOf" srcId="{B7ED7CF1-2A10-4F2B-A297-1257F9AFD3AB}" destId="{B712097C-BCA1-4EEE-BC53-E81FD2DD1566}" srcOrd="0" destOrd="0" presId="urn:microsoft.com/office/officeart/2005/8/layout/hierarchy4"/>
    <dgm:cxn modelId="{D60B7E4B-E016-4D37-834C-255F0AEE84C4}" type="presParOf" srcId="{B712097C-BCA1-4EEE-BC53-E81FD2DD1566}" destId="{ED9D7A6D-27F6-4122-BB52-8FF977A60715}" srcOrd="0" destOrd="0" presId="urn:microsoft.com/office/officeart/2005/8/layout/hierarchy4"/>
    <dgm:cxn modelId="{A12DAF4F-E99D-4A6C-813F-3B6A77C535E3}" type="presParOf" srcId="{B712097C-BCA1-4EEE-BC53-E81FD2DD1566}" destId="{B0DB43A2-D745-4196-89C5-B82A02AD2DC7}" srcOrd="1" destOrd="0" presId="urn:microsoft.com/office/officeart/2005/8/layout/hierarchy4"/>
    <dgm:cxn modelId="{10FC4C52-A98E-41DC-94B0-925C3E50FBFC}" type="presParOf" srcId="{B7ED7CF1-2A10-4F2B-A297-1257F9AFD3AB}" destId="{96B8ACAE-09DB-4420-8D02-E68418517C47}" srcOrd="1" destOrd="0" presId="urn:microsoft.com/office/officeart/2005/8/layout/hierarchy4"/>
    <dgm:cxn modelId="{B12250D1-05D5-4F2A-B819-3569C0D30D39}" type="presParOf" srcId="{B7ED7CF1-2A10-4F2B-A297-1257F9AFD3AB}" destId="{C488E2EE-8DD7-41A3-A30B-63FE22688276}" srcOrd="2" destOrd="0" presId="urn:microsoft.com/office/officeart/2005/8/layout/hierarchy4"/>
    <dgm:cxn modelId="{D4B2B514-BAB5-4A62-BF8E-4B8716718A65}" type="presParOf" srcId="{C488E2EE-8DD7-41A3-A30B-63FE22688276}" destId="{956AF648-3F93-41DF-8180-2B82526844F8}" srcOrd="0" destOrd="0" presId="urn:microsoft.com/office/officeart/2005/8/layout/hierarchy4"/>
    <dgm:cxn modelId="{B3DA627B-E10E-4134-B9A9-6BCF7E2A574D}" type="presParOf" srcId="{C488E2EE-8DD7-41A3-A30B-63FE22688276}" destId="{D708FDEB-4389-441C-8ADD-001E7776BD83}" srcOrd="1" destOrd="0" presId="urn:microsoft.com/office/officeart/2005/8/layout/hierarchy4"/>
    <dgm:cxn modelId="{F58E2D85-ABD7-4A22-A919-D50ED0AC7C19}" type="presParOf" srcId="{B7ED7CF1-2A10-4F2B-A297-1257F9AFD3AB}" destId="{FD90CC95-36D8-453B-ACAF-4DE62C53E471}" srcOrd="3" destOrd="0" presId="urn:microsoft.com/office/officeart/2005/8/layout/hierarchy4"/>
    <dgm:cxn modelId="{ED094797-6970-4811-93D0-54B6E9157874}" type="presParOf" srcId="{B7ED7CF1-2A10-4F2B-A297-1257F9AFD3AB}" destId="{4AFA6914-BEAF-472E-9247-0D5F397AFF4A}" srcOrd="4" destOrd="0" presId="urn:microsoft.com/office/officeart/2005/8/layout/hierarchy4"/>
    <dgm:cxn modelId="{9796B3DD-1818-4223-AB90-2CEE468B8313}" type="presParOf" srcId="{4AFA6914-BEAF-472E-9247-0D5F397AFF4A}" destId="{CB40655B-3A78-446B-81DC-752E71EBF0AD}" srcOrd="0" destOrd="0" presId="urn:microsoft.com/office/officeart/2005/8/layout/hierarchy4"/>
    <dgm:cxn modelId="{AB46A2E9-9C3E-4683-856F-8499ECBCC862}" type="presParOf" srcId="{4AFA6914-BEAF-472E-9247-0D5F397AFF4A}" destId="{593D83F1-8806-47D0-8431-72EDB4053AFC}" srcOrd="1" destOrd="0" presId="urn:microsoft.com/office/officeart/2005/8/layout/hierarchy4"/>
    <dgm:cxn modelId="{EC283B93-729F-4CB1-9F32-94EEA264CDAF}" type="presParOf" srcId="{B7ED7CF1-2A10-4F2B-A297-1257F9AFD3AB}" destId="{ABBF4591-3B50-4BCE-9E12-EAE8B89787C8}" srcOrd="5" destOrd="0" presId="urn:microsoft.com/office/officeart/2005/8/layout/hierarchy4"/>
    <dgm:cxn modelId="{C1B23F71-B930-4467-AB41-505008BD04ED}" type="presParOf" srcId="{B7ED7CF1-2A10-4F2B-A297-1257F9AFD3AB}" destId="{97A0E9DC-54D1-4B4E-AC25-2B57F5533B1B}" srcOrd="6" destOrd="0" presId="urn:microsoft.com/office/officeart/2005/8/layout/hierarchy4"/>
    <dgm:cxn modelId="{6BFF92DB-2F50-49C7-BB7B-B21DCA19FC44}" type="presParOf" srcId="{97A0E9DC-54D1-4B4E-AC25-2B57F5533B1B}" destId="{8835036C-3951-418C-AD84-34BFCDDB87E1}" srcOrd="0" destOrd="0" presId="urn:microsoft.com/office/officeart/2005/8/layout/hierarchy4"/>
    <dgm:cxn modelId="{032452D4-ABAD-4EAB-AD48-80E48490C39D}" type="presParOf" srcId="{97A0E9DC-54D1-4B4E-AC25-2B57F5533B1B}" destId="{FB932836-EF28-48ED-9BD4-ACBA5FF54105}" srcOrd="1" destOrd="0" presId="urn:microsoft.com/office/officeart/2005/8/layout/hierarchy4"/>
    <dgm:cxn modelId="{89813687-AEC8-4756-ACEA-816C567C16EB}" type="presParOf" srcId="{B7ED7CF1-2A10-4F2B-A297-1257F9AFD3AB}" destId="{63747EFC-7CEB-44C2-8BE8-301D9671BD1B}" srcOrd="7" destOrd="0" presId="urn:microsoft.com/office/officeart/2005/8/layout/hierarchy4"/>
    <dgm:cxn modelId="{55B57DE8-ECF1-4B83-B03A-3C5DC3F793E2}" type="presParOf" srcId="{B7ED7CF1-2A10-4F2B-A297-1257F9AFD3AB}" destId="{3A5D58EC-738D-451B-823D-9C6EC7BC1465}" srcOrd="8" destOrd="0" presId="urn:microsoft.com/office/officeart/2005/8/layout/hierarchy4"/>
    <dgm:cxn modelId="{04D62E02-53B5-4D8F-B1C8-25D84A5DC68E}" type="presParOf" srcId="{3A5D58EC-738D-451B-823D-9C6EC7BC1465}" destId="{0484FEF3-80BB-466E-AB48-804D8214DFD7}" srcOrd="0" destOrd="0" presId="urn:microsoft.com/office/officeart/2005/8/layout/hierarchy4"/>
    <dgm:cxn modelId="{03FE08FD-753C-4F76-8ECB-95B7E7F5242A}" type="presParOf" srcId="{3A5D58EC-738D-451B-823D-9C6EC7BC1465}" destId="{944FD105-09A8-4AF4-9955-1AA6A5E1B275}" srcOrd="1" destOrd="0" presId="urn:microsoft.com/office/officeart/2005/8/layout/hierarchy4"/>
    <dgm:cxn modelId="{A819FA23-C9ED-4D77-AC3F-BE4AED11EA83}" type="presParOf" srcId="{B7ED7CF1-2A10-4F2B-A297-1257F9AFD3AB}" destId="{418AB826-7607-47BC-9E2D-F63150DDBF66}" srcOrd="9" destOrd="0" presId="urn:microsoft.com/office/officeart/2005/8/layout/hierarchy4"/>
    <dgm:cxn modelId="{ED82BAF1-2D6A-4BE1-98EA-FEC28D6F60EB}" type="presParOf" srcId="{B7ED7CF1-2A10-4F2B-A297-1257F9AFD3AB}" destId="{D60BEC41-EEA4-48A4-84B1-C2A74CF2BDD0}" srcOrd="10" destOrd="0" presId="urn:microsoft.com/office/officeart/2005/8/layout/hierarchy4"/>
    <dgm:cxn modelId="{CC3FB397-476A-4874-88DE-00E8E68C85BD}" type="presParOf" srcId="{D60BEC41-EEA4-48A4-84B1-C2A74CF2BDD0}" destId="{55108962-F779-40E9-A22C-763D4069C424}" srcOrd="0" destOrd="0" presId="urn:microsoft.com/office/officeart/2005/8/layout/hierarchy4"/>
    <dgm:cxn modelId="{150E9840-49B5-4BFA-9E2F-3335B50045EE}" type="presParOf" srcId="{D60BEC41-EEA4-48A4-84B1-C2A74CF2BDD0}" destId="{38BE3D27-318A-4509-9C42-B28870D65C94}" srcOrd="1" destOrd="0" presId="urn:microsoft.com/office/officeart/2005/8/layout/hierarchy4"/>
    <dgm:cxn modelId="{43739D51-C88D-4EC9-94B3-267C34BBE0E7}" type="presParOf" srcId="{B7ED7CF1-2A10-4F2B-A297-1257F9AFD3AB}" destId="{F28923DC-9B59-4D83-B3CC-5AFE3D8078E0}" srcOrd="11" destOrd="0" presId="urn:microsoft.com/office/officeart/2005/8/layout/hierarchy4"/>
    <dgm:cxn modelId="{1A1E0A70-73DB-4A48-890B-5C8F568DEE8E}" type="presParOf" srcId="{B7ED7CF1-2A10-4F2B-A297-1257F9AFD3AB}" destId="{2E574427-1355-4247-8E71-11217FC262F3}" srcOrd="12" destOrd="0" presId="urn:microsoft.com/office/officeart/2005/8/layout/hierarchy4"/>
    <dgm:cxn modelId="{05DA9A82-483B-4634-AEAC-C0396D4B19FD}" type="presParOf" srcId="{2E574427-1355-4247-8E71-11217FC262F3}" destId="{CF04E266-3C1F-4F0F-8ECB-91CBFF2A270A}" srcOrd="0" destOrd="0" presId="urn:microsoft.com/office/officeart/2005/8/layout/hierarchy4"/>
    <dgm:cxn modelId="{3633B21D-DD34-485A-AF37-BCA353F03E94}" type="presParOf" srcId="{2E574427-1355-4247-8E71-11217FC262F3}" destId="{FCEE33CF-0411-42C8-B02D-D627CEE491E3}" srcOrd="1" destOrd="0" presId="urn:microsoft.com/office/officeart/2005/8/layout/hierarchy4"/>
    <dgm:cxn modelId="{267EFFA5-5451-4171-9357-F98FD0D4E6D9}" type="presParOf" srcId="{B7ED7CF1-2A10-4F2B-A297-1257F9AFD3AB}" destId="{960DDCE2-E4A8-4753-A861-1CC5269E8EFC}" srcOrd="13" destOrd="0" presId="urn:microsoft.com/office/officeart/2005/8/layout/hierarchy4"/>
    <dgm:cxn modelId="{9F88E240-6EBF-4C36-97D2-E69C710F329F}" type="presParOf" srcId="{B7ED7CF1-2A10-4F2B-A297-1257F9AFD3AB}" destId="{6315F542-07F9-42B7-9F58-97C5C4662516}" srcOrd="14" destOrd="0" presId="urn:microsoft.com/office/officeart/2005/8/layout/hierarchy4"/>
    <dgm:cxn modelId="{727C576A-E073-41C9-A941-501B155D1FA1}" type="presParOf" srcId="{6315F542-07F9-42B7-9F58-97C5C4662516}" destId="{EFA85F0F-A555-42DB-B683-6C7318384ED3}" srcOrd="0" destOrd="0" presId="urn:microsoft.com/office/officeart/2005/8/layout/hierarchy4"/>
    <dgm:cxn modelId="{F33D0CCE-497F-4A85-B194-28136029F579}" type="presParOf" srcId="{6315F542-07F9-42B7-9F58-97C5C4662516}" destId="{E79A8583-D863-4C8B-B25F-6BE9F2CB1060}" srcOrd="1" destOrd="0" presId="urn:microsoft.com/office/officeart/2005/8/layout/hierarchy4"/>
    <dgm:cxn modelId="{F4EE5F63-655A-4610-AE31-DC7C7019851C}" type="presParOf" srcId="{458CB0AF-613D-4120-A15A-324830455AF9}" destId="{14BF5D3A-70A9-40E3-9E01-24FC0C6D5FA1}" srcOrd="1" destOrd="0" presId="urn:microsoft.com/office/officeart/2005/8/layout/hierarchy4"/>
    <dgm:cxn modelId="{F87EDC04-8BA1-4D69-A834-6869AAE61BCC}" type="presParOf" srcId="{458CB0AF-613D-4120-A15A-324830455AF9}" destId="{990A3BF0-92B1-4AC9-87FF-E18418185EB0}" srcOrd="2" destOrd="0" presId="urn:microsoft.com/office/officeart/2005/8/layout/hierarchy4"/>
    <dgm:cxn modelId="{75ED62E9-E1D7-4481-A1BB-E8CAB685820F}" type="presParOf" srcId="{990A3BF0-92B1-4AC9-87FF-E18418185EB0}" destId="{C55AC12B-0CD1-4BF4-9381-43DE229D9EE8}" srcOrd="0" destOrd="0" presId="urn:microsoft.com/office/officeart/2005/8/layout/hierarchy4"/>
    <dgm:cxn modelId="{1CE8711B-4073-4C1D-B99D-67AB74C005E7}" type="presParOf" srcId="{990A3BF0-92B1-4AC9-87FF-E18418185EB0}" destId="{B50D8648-7CCB-4419-AAD0-BD177847D8B3}" srcOrd="1" destOrd="0" presId="urn:microsoft.com/office/officeart/2005/8/layout/hierarchy4"/>
    <dgm:cxn modelId="{7A67B110-EDC9-4278-9730-4EDC37F2078D}" type="presParOf" srcId="{990A3BF0-92B1-4AC9-87FF-E18418185EB0}" destId="{CB5EEA40-9C7B-42E5-B60C-0EAC9EE3858D}" srcOrd="2" destOrd="0" presId="urn:microsoft.com/office/officeart/2005/8/layout/hierarchy4"/>
    <dgm:cxn modelId="{F6BB7F85-34B1-4394-ADB8-8B5CE4D35CDA}" type="presParOf" srcId="{CB5EEA40-9C7B-42E5-B60C-0EAC9EE3858D}" destId="{ADAB4808-897E-4D9D-8EF4-351BE1AA676E}" srcOrd="0" destOrd="0" presId="urn:microsoft.com/office/officeart/2005/8/layout/hierarchy4"/>
    <dgm:cxn modelId="{AF77778B-4552-4A1D-BBA3-8D63A83B260D}" type="presParOf" srcId="{ADAB4808-897E-4D9D-8EF4-351BE1AA676E}" destId="{5A7435AB-0EAE-48A3-9BD9-0F03114061DF}" srcOrd="0" destOrd="0" presId="urn:microsoft.com/office/officeart/2005/8/layout/hierarchy4"/>
    <dgm:cxn modelId="{3FB212A5-B622-4A74-94A6-219E48D24C9C}" type="presParOf" srcId="{ADAB4808-897E-4D9D-8EF4-351BE1AA676E}" destId="{D8ECFB1C-529B-4A06-979A-392DE3F918BA}" srcOrd="1" destOrd="0" presId="urn:microsoft.com/office/officeart/2005/8/layout/hierarchy4"/>
    <dgm:cxn modelId="{08AB144E-4300-47A3-9C3D-97D586FECE53}" type="presParOf" srcId="{CB5EEA40-9C7B-42E5-B60C-0EAC9EE3858D}" destId="{E5AA5157-B469-4027-9F1F-A2B481A32EA9}" srcOrd="1" destOrd="0" presId="urn:microsoft.com/office/officeart/2005/8/layout/hierarchy4"/>
    <dgm:cxn modelId="{AD893A8F-95C9-4E52-8E02-569734AE9FEC}" type="presParOf" srcId="{CB5EEA40-9C7B-42E5-B60C-0EAC9EE3858D}" destId="{0CCB3B61-7D98-4494-9D84-718B7A82B386}" srcOrd="2" destOrd="0" presId="urn:microsoft.com/office/officeart/2005/8/layout/hierarchy4"/>
    <dgm:cxn modelId="{61DDC186-456F-4628-ACB4-BDD569446E63}" type="presParOf" srcId="{0CCB3B61-7D98-4494-9D84-718B7A82B386}" destId="{8DFEF4C6-66E1-457A-916F-64179C4E5A9B}" srcOrd="0" destOrd="0" presId="urn:microsoft.com/office/officeart/2005/8/layout/hierarchy4"/>
    <dgm:cxn modelId="{F23CA02A-5F9E-40E6-BFB2-B6223BDDD794}" type="presParOf" srcId="{0CCB3B61-7D98-4494-9D84-718B7A82B386}" destId="{C0605378-BE31-4FE1-92E7-8635F4EA019F}" srcOrd="1" destOrd="0" presId="urn:microsoft.com/office/officeart/2005/8/layout/hierarchy4"/>
    <dgm:cxn modelId="{E41C6ECB-8D05-4939-A5E0-B4F5D665BBB2}" type="presParOf" srcId="{CB5EEA40-9C7B-42E5-B60C-0EAC9EE3858D}" destId="{C2FE1532-75E0-42C2-9056-C251E1A5D912}" srcOrd="3" destOrd="0" presId="urn:microsoft.com/office/officeart/2005/8/layout/hierarchy4"/>
    <dgm:cxn modelId="{581DF019-1A23-4BC2-BB97-22D753AADFF5}" type="presParOf" srcId="{CB5EEA40-9C7B-42E5-B60C-0EAC9EE3858D}" destId="{B1922FDE-E71C-4DF3-A976-85EE248DB907}" srcOrd="4" destOrd="0" presId="urn:microsoft.com/office/officeart/2005/8/layout/hierarchy4"/>
    <dgm:cxn modelId="{368FDD42-7389-448D-9F96-00A9AC38271E}" type="presParOf" srcId="{B1922FDE-E71C-4DF3-A976-85EE248DB907}" destId="{0B07CCEB-AA66-4E76-B431-1428E254EF9A}" srcOrd="0" destOrd="0" presId="urn:microsoft.com/office/officeart/2005/8/layout/hierarchy4"/>
    <dgm:cxn modelId="{337E19C7-A4BA-44B7-93D3-87BCCE1B8CF7}" type="presParOf" srcId="{B1922FDE-E71C-4DF3-A976-85EE248DB907}" destId="{9B5A069C-6F53-471A-AE2D-BB553EA95AC4}" srcOrd="1" destOrd="0" presId="urn:microsoft.com/office/officeart/2005/8/layout/hierarchy4"/>
    <dgm:cxn modelId="{066D3A5E-049F-42B9-A217-451523699088}" type="presParOf" srcId="{CB5EEA40-9C7B-42E5-B60C-0EAC9EE3858D}" destId="{3AD7C691-767C-4FF4-AFBB-4BABAC77D048}" srcOrd="5" destOrd="0" presId="urn:microsoft.com/office/officeart/2005/8/layout/hierarchy4"/>
    <dgm:cxn modelId="{3A25C17B-1562-46AD-9C00-0DDDB95F5B24}" type="presParOf" srcId="{CB5EEA40-9C7B-42E5-B60C-0EAC9EE3858D}" destId="{15C13FB5-5894-4831-BB4A-A703B8049DC9}" srcOrd="6" destOrd="0" presId="urn:microsoft.com/office/officeart/2005/8/layout/hierarchy4"/>
    <dgm:cxn modelId="{44F4FD0C-E43E-4215-AB72-F8BC9A4DFF1A}" type="presParOf" srcId="{15C13FB5-5894-4831-BB4A-A703B8049DC9}" destId="{856C2FA2-2EF2-4EB3-9F07-25F25CEB6C88}" srcOrd="0" destOrd="0" presId="urn:microsoft.com/office/officeart/2005/8/layout/hierarchy4"/>
    <dgm:cxn modelId="{025C8594-1A62-48F1-B7B6-A7E9A4FF0404}" type="presParOf" srcId="{15C13FB5-5894-4831-BB4A-A703B8049DC9}" destId="{B24B512C-9E3E-4833-BA8A-006EBD0F9880}" srcOrd="1" destOrd="0" presId="urn:microsoft.com/office/officeart/2005/8/layout/hierarchy4"/>
    <dgm:cxn modelId="{514D9061-CE3B-4111-A51A-D585789C5961}" type="presParOf" srcId="{CB5EEA40-9C7B-42E5-B60C-0EAC9EE3858D}" destId="{E910B067-78ED-40CD-8FBE-39D5DA179898}" srcOrd="7" destOrd="0" presId="urn:microsoft.com/office/officeart/2005/8/layout/hierarchy4"/>
    <dgm:cxn modelId="{E8C67758-6423-4B27-84D6-9B676C3C1426}" type="presParOf" srcId="{CB5EEA40-9C7B-42E5-B60C-0EAC9EE3858D}" destId="{CE9608A8-B96B-4667-BA26-A3CF7748C6B5}" srcOrd="8" destOrd="0" presId="urn:microsoft.com/office/officeart/2005/8/layout/hierarchy4"/>
    <dgm:cxn modelId="{0043BB8A-12EE-4211-874C-9169DE40F6E9}" type="presParOf" srcId="{CE9608A8-B96B-4667-BA26-A3CF7748C6B5}" destId="{B8BC3BA1-ED75-4F94-956E-68AA5E500B2D}" srcOrd="0" destOrd="0" presId="urn:microsoft.com/office/officeart/2005/8/layout/hierarchy4"/>
    <dgm:cxn modelId="{4CC7410A-07FF-49A7-94D0-78B2173A719D}" type="presParOf" srcId="{CE9608A8-B96B-4667-BA26-A3CF7748C6B5}" destId="{1BE336F6-1FB2-4827-8CA9-9C59EBC7A6C5}" srcOrd="1" destOrd="0" presId="urn:microsoft.com/office/officeart/2005/8/layout/hierarchy4"/>
    <dgm:cxn modelId="{007BE90E-6D52-4256-889F-97A5AE7F7C72}" type="presParOf" srcId="{CB5EEA40-9C7B-42E5-B60C-0EAC9EE3858D}" destId="{3DE1196E-0250-4CDA-91C9-03031D49363E}" srcOrd="9" destOrd="0" presId="urn:microsoft.com/office/officeart/2005/8/layout/hierarchy4"/>
    <dgm:cxn modelId="{161FF033-ACF9-4E98-8ECA-D87DD073AEED}" type="presParOf" srcId="{CB5EEA40-9C7B-42E5-B60C-0EAC9EE3858D}" destId="{4A3C540A-A0EF-4885-90FE-BFAF1D42F7B6}" srcOrd="10" destOrd="0" presId="urn:microsoft.com/office/officeart/2005/8/layout/hierarchy4"/>
    <dgm:cxn modelId="{AF7B0F42-941D-4357-9B1C-195766443515}" type="presParOf" srcId="{4A3C540A-A0EF-4885-90FE-BFAF1D42F7B6}" destId="{F8AC719F-CAF3-491D-A1F9-4D5765FED417}" srcOrd="0" destOrd="0" presId="urn:microsoft.com/office/officeart/2005/8/layout/hierarchy4"/>
    <dgm:cxn modelId="{C991C965-9C70-4FA3-AC3D-DB7C9F195600}" type="presParOf" srcId="{4A3C540A-A0EF-4885-90FE-BFAF1D42F7B6}" destId="{981978B0-C8F8-4E42-8D21-1AEFB26AB41B}" srcOrd="1" destOrd="0" presId="urn:microsoft.com/office/officeart/2005/8/layout/hierarchy4"/>
    <dgm:cxn modelId="{86674A3B-F893-4F8F-9C31-20AE62A76EF1}" type="presParOf" srcId="{CB5EEA40-9C7B-42E5-B60C-0EAC9EE3858D}" destId="{8F8D5C7A-2F87-40DD-91F1-19929F1515F2}" srcOrd="11" destOrd="0" presId="urn:microsoft.com/office/officeart/2005/8/layout/hierarchy4"/>
    <dgm:cxn modelId="{9A687F73-3B7E-44EF-99EB-FD75BF2F5807}" type="presParOf" srcId="{CB5EEA40-9C7B-42E5-B60C-0EAC9EE3858D}" destId="{4E199233-8DFA-43C6-B3C0-AD9AF37316EC}" srcOrd="12" destOrd="0" presId="urn:microsoft.com/office/officeart/2005/8/layout/hierarchy4"/>
    <dgm:cxn modelId="{41D620D5-D638-43B4-968E-8132A59C20CB}" type="presParOf" srcId="{4E199233-8DFA-43C6-B3C0-AD9AF37316EC}" destId="{F783456F-55BA-48F3-946C-335CB438F782}" srcOrd="0" destOrd="0" presId="urn:microsoft.com/office/officeart/2005/8/layout/hierarchy4"/>
    <dgm:cxn modelId="{DB26FA63-F13B-4D24-A77B-473FB4F85106}" type="presParOf" srcId="{4E199233-8DFA-43C6-B3C0-AD9AF37316EC}" destId="{BA92AC88-617C-418C-A39F-022E0AEF5655}" srcOrd="1" destOrd="0" presId="urn:microsoft.com/office/officeart/2005/8/layout/hierarchy4"/>
    <dgm:cxn modelId="{42EC4BCA-56B1-48EB-A192-C27D8CB60606}" type="presParOf" srcId="{CB5EEA40-9C7B-42E5-B60C-0EAC9EE3858D}" destId="{9E6C0E42-0BE3-402C-AEEE-0BB54031755D}" srcOrd="13" destOrd="0" presId="urn:microsoft.com/office/officeart/2005/8/layout/hierarchy4"/>
    <dgm:cxn modelId="{8BA3E09F-FCFA-49B9-A1AB-DEDD99EC18A4}" type="presParOf" srcId="{CB5EEA40-9C7B-42E5-B60C-0EAC9EE3858D}" destId="{06BC2E03-149E-4D71-A80E-D6D02AE7F6F4}" srcOrd="14" destOrd="0" presId="urn:microsoft.com/office/officeart/2005/8/layout/hierarchy4"/>
    <dgm:cxn modelId="{86B55384-3321-4C7F-A02F-6FC843EB7A96}" type="presParOf" srcId="{06BC2E03-149E-4D71-A80E-D6D02AE7F6F4}" destId="{720B06E0-9EA7-47F7-98E8-655F7F53DCF4}" srcOrd="0" destOrd="0" presId="urn:microsoft.com/office/officeart/2005/8/layout/hierarchy4"/>
    <dgm:cxn modelId="{3E17B6D4-4EAA-461D-B896-1DC9DA0BCBF8}" type="presParOf" srcId="{06BC2E03-149E-4D71-A80E-D6D02AE7F6F4}" destId="{A3D43EDE-B3CA-4B66-BB6A-D3BA096B61F0}" srcOrd="1" destOrd="0" presId="urn:microsoft.com/office/officeart/2005/8/layout/hierarchy4"/>
    <dgm:cxn modelId="{77CA05EA-3FAB-42AD-8C84-165E9674728F}" type="presParOf" srcId="{CB5EEA40-9C7B-42E5-B60C-0EAC9EE3858D}" destId="{E56EAA93-2454-49A9-8D48-ACCED1B300DB}" srcOrd="15" destOrd="0" presId="urn:microsoft.com/office/officeart/2005/8/layout/hierarchy4"/>
    <dgm:cxn modelId="{39DDAA53-62EE-4A39-B04B-1058E541902D}" type="presParOf" srcId="{CB5EEA40-9C7B-42E5-B60C-0EAC9EE3858D}" destId="{A6FD77D6-5813-43DF-BC77-53A851938912}" srcOrd="16" destOrd="0" presId="urn:microsoft.com/office/officeart/2005/8/layout/hierarchy4"/>
    <dgm:cxn modelId="{97AF17C6-0773-4D04-90FE-B72CD7C030AE}" type="presParOf" srcId="{A6FD77D6-5813-43DF-BC77-53A851938912}" destId="{AFAC0F0D-098F-4D27-93F0-D66465E8FF0D}" srcOrd="0" destOrd="0" presId="urn:microsoft.com/office/officeart/2005/8/layout/hierarchy4"/>
    <dgm:cxn modelId="{7FEFFF81-B171-4ADB-A1D7-712F6100E0D0}" type="presParOf" srcId="{A6FD77D6-5813-43DF-BC77-53A851938912}" destId="{4B280464-40BD-49E1-9156-1AFEAACBC42E}" srcOrd="1" destOrd="0" presId="urn:microsoft.com/office/officeart/2005/8/layout/hierarchy4"/>
    <dgm:cxn modelId="{1FC6CCE8-C91B-45E6-82E5-66CDBD9BA9A7}" type="presParOf" srcId="{CB5EEA40-9C7B-42E5-B60C-0EAC9EE3858D}" destId="{99401B13-7A6D-4FA8-B8E5-B737C9EB106A}" srcOrd="17" destOrd="0" presId="urn:microsoft.com/office/officeart/2005/8/layout/hierarchy4"/>
    <dgm:cxn modelId="{AA6F770B-94F7-47B3-87F3-A44AFB1E30A7}" type="presParOf" srcId="{CB5EEA40-9C7B-42E5-B60C-0EAC9EE3858D}" destId="{881E802C-EE88-475C-AAA9-E2944C09AA02}" srcOrd="18" destOrd="0" presId="urn:microsoft.com/office/officeart/2005/8/layout/hierarchy4"/>
    <dgm:cxn modelId="{8FA45308-A07A-4527-941E-BD0D2E536324}" type="presParOf" srcId="{881E802C-EE88-475C-AAA9-E2944C09AA02}" destId="{06466438-6FC9-465C-AA86-A61300E5A226}" srcOrd="0" destOrd="0" presId="urn:microsoft.com/office/officeart/2005/8/layout/hierarchy4"/>
    <dgm:cxn modelId="{261F4CF9-8151-4788-843C-C78E92BF038B}" type="presParOf" srcId="{881E802C-EE88-475C-AAA9-E2944C09AA02}" destId="{EA0CBFCB-BFFD-49C6-AA45-75645F7C75C4}" srcOrd="1" destOrd="0" presId="urn:microsoft.com/office/officeart/2005/8/layout/hierarchy4"/>
    <dgm:cxn modelId="{E65639AD-20CB-4220-AC66-619A3276C94B}" type="presParOf" srcId="{CB5EEA40-9C7B-42E5-B60C-0EAC9EE3858D}" destId="{4D041AE0-81DF-4DE2-A16B-6D9C1EB661F8}" srcOrd="19" destOrd="0" presId="urn:microsoft.com/office/officeart/2005/8/layout/hierarchy4"/>
    <dgm:cxn modelId="{1026C47B-3612-48B4-9B4E-267081AA3824}" type="presParOf" srcId="{CB5EEA40-9C7B-42E5-B60C-0EAC9EE3858D}" destId="{C7E4E47B-E048-41B9-A47D-7A47BCADDE41}" srcOrd="20" destOrd="0" presId="urn:microsoft.com/office/officeart/2005/8/layout/hierarchy4"/>
    <dgm:cxn modelId="{E598F902-D8B9-479C-970F-65EE06CC83F2}" type="presParOf" srcId="{C7E4E47B-E048-41B9-A47D-7A47BCADDE41}" destId="{4C3F5D75-D660-4196-BE58-4FEEA2FD1070}" srcOrd="0" destOrd="0" presId="urn:microsoft.com/office/officeart/2005/8/layout/hierarchy4"/>
    <dgm:cxn modelId="{9D1E4247-F410-472A-B1DC-11F62071FF8E}" type="presParOf" srcId="{C7E4E47B-E048-41B9-A47D-7A47BCADDE41}" destId="{49F1A65B-AF96-4533-99BB-767B33984E36}" srcOrd="1" destOrd="0" presId="urn:microsoft.com/office/officeart/2005/8/layout/hierarchy4"/>
    <dgm:cxn modelId="{F41B82B9-63F2-4C8A-9B37-6EFC12129DBB}" type="presParOf" srcId="{CB5EEA40-9C7B-42E5-B60C-0EAC9EE3858D}" destId="{ADBC21C9-895B-4E88-91CD-7A8CA39FEF60}" srcOrd="21" destOrd="0" presId="urn:microsoft.com/office/officeart/2005/8/layout/hierarchy4"/>
    <dgm:cxn modelId="{B8F8E2A6-4C19-45BF-A290-4885633A8B78}" type="presParOf" srcId="{CB5EEA40-9C7B-42E5-B60C-0EAC9EE3858D}" destId="{16D7C5B6-F0B7-4E66-A571-2A4DF843B59D}" srcOrd="22" destOrd="0" presId="urn:microsoft.com/office/officeart/2005/8/layout/hierarchy4"/>
    <dgm:cxn modelId="{55ECD0F0-A514-426F-8A0F-3100C03C2FD5}" type="presParOf" srcId="{16D7C5B6-F0B7-4E66-A571-2A4DF843B59D}" destId="{F3462B34-FF24-4172-91C1-2E0B070780EF}" srcOrd="0" destOrd="0" presId="urn:microsoft.com/office/officeart/2005/8/layout/hierarchy4"/>
    <dgm:cxn modelId="{C169E914-4BDB-4334-BFB6-4FF264172EE4}" type="presParOf" srcId="{16D7C5B6-F0B7-4E66-A571-2A4DF843B59D}" destId="{E474479C-80A4-4AD5-AF57-34A04E5D2C19}" srcOrd="1" destOrd="0" presId="urn:microsoft.com/office/officeart/2005/8/layout/hierarchy4"/>
    <dgm:cxn modelId="{9A034002-283A-4592-8268-D4CD228ABE03}" type="presParOf" srcId="{CB5EEA40-9C7B-42E5-B60C-0EAC9EE3858D}" destId="{2AEE8CA7-0EFF-45F9-86EF-D4A68FD99638}" srcOrd="23" destOrd="0" presId="urn:microsoft.com/office/officeart/2005/8/layout/hierarchy4"/>
    <dgm:cxn modelId="{1A0C1FC9-89D1-4B33-BF0B-B39F81591640}" type="presParOf" srcId="{CB5EEA40-9C7B-42E5-B60C-0EAC9EE3858D}" destId="{56F4B9FF-9A72-4827-B424-3C2CA7908779}" srcOrd="24" destOrd="0" presId="urn:microsoft.com/office/officeart/2005/8/layout/hierarchy4"/>
    <dgm:cxn modelId="{8C6E7087-2265-4282-8D21-F59871A9BCF3}" type="presParOf" srcId="{56F4B9FF-9A72-4827-B424-3C2CA7908779}" destId="{6F070F02-522B-4806-862C-30037E8CEB58}" srcOrd="0" destOrd="0" presId="urn:microsoft.com/office/officeart/2005/8/layout/hierarchy4"/>
    <dgm:cxn modelId="{449A1684-A4A2-4331-BA1C-5D81C6D914FE}" type="presParOf" srcId="{56F4B9FF-9A72-4827-B424-3C2CA7908779}" destId="{5151B941-48BB-453F-B353-A8CB84061F92}" srcOrd="1" destOrd="0" presId="urn:microsoft.com/office/officeart/2005/8/layout/hierarchy4"/>
    <dgm:cxn modelId="{7B5246C9-3142-4E73-84A6-DE50E36A3C2D}" type="presParOf" srcId="{CB5EEA40-9C7B-42E5-B60C-0EAC9EE3858D}" destId="{C6E8C718-FCB8-4990-98D5-B84EF51F83EB}" srcOrd="25" destOrd="0" presId="urn:microsoft.com/office/officeart/2005/8/layout/hierarchy4"/>
    <dgm:cxn modelId="{86B5C90A-34CC-46EE-8ABB-78EE52246D3E}" type="presParOf" srcId="{CB5EEA40-9C7B-42E5-B60C-0EAC9EE3858D}" destId="{C10FF7FC-75AE-4E2F-80E9-D3DC91C04A8E}" srcOrd="26" destOrd="0" presId="urn:microsoft.com/office/officeart/2005/8/layout/hierarchy4"/>
    <dgm:cxn modelId="{95E4A434-5D30-4582-BAE1-6BBECB47689A}" type="presParOf" srcId="{C10FF7FC-75AE-4E2F-80E9-D3DC91C04A8E}" destId="{48736913-BC95-4CB6-B20E-8675B0283067}" srcOrd="0" destOrd="0" presId="urn:microsoft.com/office/officeart/2005/8/layout/hierarchy4"/>
    <dgm:cxn modelId="{B4A76572-DB3C-403C-A969-FC9AA888A290}" type="presParOf" srcId="{C10FF7FC-75AE-4E2F-80E9-D3DC91C04A8E}" destId="{F4A0C095-EDCE-40DD-B2B2-51A6E425CDBA}" srcOrd="1" destOrd="0" presId="urn:microsoft.com/office/officeart/2005/8/layout/hierarchy4"/>
    <dgm:cxn modelId="{ACEBC3EB-C049-4A31-B282-D04316B7ED12}" type="presParOf" srcId="{CB5EEA40-9C7B-42E5-B60C-0EAC9EE3858D}" destId="{9019FC45-9A72-441B-96F0-F93F63BC2DC8}" srcOrd="27" destOrd="0" presId="urn:microsoft.com/office/officeart/2005/8/layout/hierarchy4"/>
    <dgm:cxn modelId="{F0863EB0-F48A-40EB-82A4-7F75A03DFCC1}" type="presParOf" srcId="{CB5EEA40-9C7B-42E5-B60C-0EAC9EE3858D}" destId="{18544BD9-A326-437E-B0C0-3D0C8D613A4B}" srcOrd="28" destOrd="0" presId="urn:microsoft.com/office/officeart/2005/8/layout/hierarchy4"/>
    <dgm:cxn modelId="{49097BBF-B14D-4535-A804-928208CB389C}" type="presParOf" srcId="{18544BD9-A326-437E-B0C0-3D0C8D613A4B}" destId="{5E00F13C-3E1F-476C-8759-D090A25C8392}" srcOrd="0" destOrd="0" presId="urn:microsoft.com/office/officeart/2005/8/layout/hierarchy4"/>
    <dgm:cxn modelId="{B341C4D3-B2F5-4C89-947F-7D9D8B14975A}" type="presParOf" srcId="{18544BD9-A326-437E-B0C0-3D0C8D613A4B}" destId="{F7E5F7B2-326E-4B39-AE86-EC8BF97B24F6}" srcOrd="1" destOrd="0" presId="urn:microsoft.com/office/officeart/2005/8/layout/hierarchy4"/>
    <dgm:cxn modelId="{58B98528-260A-4FA7-B73C-6807A18BEA6B}" type="presParOf" srcId="{CB5EEA40-9C7B-42E5-B60C-0EAC9EE3858D}" destId="{D61841F4-DA26-4305-A517-186BF2348244}" srcOrd="29" destOrd="0" presId="urn:microsoft.com/office/officeart/2005/8/layout/hierarchy4"/>
    <dgm:cxn modelId="{4861E066-2E2E-46BA-9980-2CC5A3693566}" type="presParOf" srcId="{CB5EEA40-9C7B-42E5-B60C-0EAC9EE3858D}" destId="{B38CB48A-B654-49D3-B3CF-55A571EAFEDE}" srcOrd="30" destOrd="0" presId="urn:microsoft.com/office/officeart/2005/8/layout/hierarchy4"/>
    <dgm:cxn modelId="{D6762FC4-329B-472A-95C4-970348A0423D}" type="presParOf" srcId="{B38CB48A-B654-49D3-B3CF-55A571EAFEDE}" destId="{99015059-36D6-478F-9D2D-F2C276ECB7CC}" srcOrd="0" destOrd="0" presId="urn:microsoft.com/office/officeart/2005/8/layout/hierarchy4"/>
    <dgm:cxn modelId="{DA68E4A9-C481-4C20-B56A-48F0394B8458}" type="presParOf" srcId="{B38CB48A-B654-49D3-B3CF-55A571EAFEDE}" destId="{A15B1B78-A86E-4B0E-9B52-1EE563092054}" srcOrd="1" destOrd="0" presId="urn:microsoft.com/office/officeart/2005/8/layout/hierarchy4"/>
    <dgm:cxn modelId="{E811BDB5-8BFD-4EED-9101-6E216CF373EB}" type="presParOf" srcId="{CB5EEA40-9C7B-42E5-B60C-0EAC9EE3858D}" destId="{90DA7ED6-6D44-4D1A-8E2B-445C72B8DFD0}" srcOrd="31" destOrd="0" presId="urn:microsoft.com/office/officeart/2005/8/layout/hierarchy4"/>
    <dgm:cxn modelId="{A83108E3-9651-4136-A4C5-7535D89202C0}" type="presParOf" srcId="{CB5EEA40-9C7B-42E5-B60C-0EAC9EE3858D}" destId="{555310BC-3AC8-4AFD-83EA-5B7AEED9724A}" srcOrd="32" destOrd="0" presId="urn:microsoft.com/office/officeart/2005/8/layout/hierarchy4"/>
    <dgm:cxn modelId="{DBAB56DE-9431-4054-9802-68E6B6D6CDCC}" type="presParOf" srcId="{555310BC-3AC8-4AFD-83EA-5B7AEED9724A}" destId="{3ED49043-29E7-4BBC-86E3-7DC64D882336}" srcOrd="0" destOrd="0" presId="urn:microsoft.com/office/officeart/2005/8/layout/hierarchy4"/>
    <dgm:cxn modelId="{196B47FC-D56F-4A53-BAF5-62A017F0340B}" type="presParOf" srcId="{555310BC-3AC8-4AFD-83EA-5B7AEED9724A}" destId="{1293E107-59C2-4FA1-8318-1EC004E00B65}" srcOrd="1" destOrd="0" presId="urn:microsoft.com/office/officeart/2005/8/layout/hierarchy4"/>
    <dgm:cxn modelId="{F82C0A54-476A-4F36-BC00-93CD991385B6}" type="presParOf" srcId="{CB5EEA40-9C7B-42E5-B60C-0EAC9EE3858D}" destId="{94A05327-AFA2-4482-8819-7CD097E7C9E7}" srcOrd="33" destOrd="0" presId="urn:microsoft.com/office/officeart/2005/8/layout/hierarchy4"/>
    <dgm:cxn modelId="{422D2E37-F99C-4D5D-BBD2-946E1E63FE5B}" type="presParOf" srcId="{CB5EEA40-9C7B-42E5-B60C-0EAC9EE3858D}" destId="{301809FE-B005-4B94-9ECA-5A1EE79554D7}" srcOrd="34" destOrd="0" presId="urn:microsoft.com/office/officeart/2005/8/layout/hierarchy4"/>
    <dgm:cxn modelId="{9505080A-40B0-43D8-86E4-D8237CFB9DAE}" type="presParOf" srcId="{301809FE-B005-4B94-9ECA-5A1EE79554D7}" destId="{B8E542A7-D4A3-4AD8-9A5B-37B095D516AC}" srcOrd="0" destOrd="0" presId="urn:microsoft.com/office/officeart/2005/8/layout/hierarchy4"/>
    <dgm:cxn modelId="{2E668365-E561-4B96-B8F3-4169569D128B}" type="presParOf" srcId="{301809FE-B005-4B94-9ECA-5A1EE79554D7}" destId="{1723A7A8-8E78-4714-A1AB-4332C3FE82CE}" srcOrd="1" destOrd="0" presId="urn:microsoft.com/office/officeart/2005/8/layout/hierarchy4"/>
    <dgm:cxn modelId="{01EA8F9C-2AA7-4162-8EA4-778386806913}" type="presParOf" srcId="{CB5EEA40-9C7B-42E5-B60C-0EAC9EE3858D}" destId="{B1A682E7-388D-46DD-9E44-7A4044B2BFD4}" srcOrd="35" destOrd="0" presId="urn:microsoft.com/office/officeart/2005/8/layout/hierarchy4"/>
    <dgm:cxn modelId="{5C4B956E-9088-4C03-B0D2-2875AF6D2926}" type="presParOf" srcId="{CB5EEA40-9C7B-42E5-B60C-0EAC9EE3858D}" destId="{4A495F18-B7EA-47B0-B366-6F2F2FC0E18C}" srcOrd="36" destOrd="0" presId="urn:microsoft.com/office/officeart/2005/8/layout/hierarchy4"/>
    <dgm:cxn modelId="{58AE25E0-E360-4C31-AE19-F0AF00A14165}" type="presParOf" srcId="{4A495F18-B7EA-47B0-B366-6F2F2FC0E18C}" destId="{D1EF3942-842E-42C7-8026-E3C76461607B}" srcOrd="0" destOrd="0" presId="urn:microsoft.com/office/officeart/2005/8/layout/hierarchy4"/>
    <dgm:cxn modelId="{7001DD4C-6418-4CF8-81C1-237B619999F2}" type="presParOf" srcId="{4A495F18-B7EA-47B0-B366-6F2F2FC0E18C}" destId="{A1BDC8EB-CFB9-4897-86EB-111E7AA6307B}" srcOrd="1" destOrd="0" presId="urn:microsoft.com/office/officeart/2005/8/layout/hierarchy4"/>
    <dgm:cxn modelId="{DBFD1D9A-F5D0-4FA8-93EE-63F591ADF8A2}" type="presParOf" srcId="{CB5EEA40-9C7B-42E5-B60C-0EAC9EE3858D}" destId="{8D7609C3-69FE-4D14-820F-CBA6AE302149}" srcOrd="37" destOrd="0" presId="urn:microsoft.com/office/officeart/2005/8/layout/hierarchy4"/>
    <dgm:cxn modelId="{9406612A-FAC1-4BCE-99F2-39676C9A40AD}" type="presParOf" srcId="{CB5EEA40-9C7B-42E5-B60C-0EAC9EE3858D}" destId="{A4E8C22E-2615-4811-899D-C3AB9287E1AB}" srcOrd="38" destOrd="0" presId="urn:microsoft.com/office/officeart/2005/8/layout/hierarchy4"/>
    <dgm:cxn modelId="{26E84CDC-1A85-4041-8ED7-3B42D7DECC36}" type="presParOf" srcId="{A4E8C22E-2615-4811-899D-C3AB9287E1AB}" destId="{0C6D0EC8-91E8-4AA8-93C0-4DAA11895146}" srcOrd="0" destOrd="0" presId="urn:microsoft.com/office/officeart/2005/8/layout/hierarchy4"/>
    <dgm:cxn modelId="{0E59570C-11C4-4EAB-AE04-B65AE7290E6C}" type="presParOf" srcId="{A4E8C22E-2615-4811-899D-C3AB9287E1AB}" destId="{F9702C30-D97D-4EEE-AC1E-D0E8740DE0EF}" srcOrd="1" destOrd="0" presId="urn:microsoft.com/office/officeart/2005/8/layout/hierarchy4"/>
    <dgm:cxn modelId="{ED6F00EC-AB1E-4434-B1D9-8C15EE303C6A}" type="presParOf" srcId="{CB5EEA40-9C7B-42E5-B60C-0EAC9EE3858D}" destId="{512F80F8-88E3-431E-82EC-C426ECC10653}" srcOrd="39" destOrd="0" presId="urn:microsoft.com/office/officeart/2005/8/layout/hierarchy4"/>
    <dgm:cxn modelId="{3810A0ED-3746-42AE-9C78-4752693EDC9B}" type="presParOf" srcId="{CB5EEA40-9C7B-42E5-B60C-0EAC9EE3858D}" destId="{90815BAF-29ED-4CBC-8479-13919DFB63B6}" srcOrd="40" destOrd="0" presId="urn:microsoft.com/office/officeart/2005/8/layout/hierarchy4"/>
    <dgm:cxn modelId="{1D66385E-870F-4C9B-91E9-96F1E3DFC215}" type="presParOf" srcId="{90815BAF-29ED-4CBC-8479-13919DFB63B6}" destId="{4F4A972E-72CA-4840-B62A-B0BADCE79ED7}" srcOrd="0" destOrd="0" presId="urn:microsoft.com/office/officeart/2005/8/layout/hierarchy4"/>
    <dgm:cxn modelId="{0AC31D56-A0C9-49B2-9A6D-A8E8F6528F9F}" type="presParOf" srcId="{90815BAF-29ED-4CBC-8479-13919DFB63B6}" destId="{20799CD9-0919-417C-9ECF-DE048A61F2BA}" srcOrd="1" destOrd="0" presId="urn:microsoft.com/office/officeart/2005/8/layout/hierarchy4"/>
    <dgm:cxn modelId="{4C2F504E-3FCE-42C5-ACA0-9C8BDE2B6E27}" type="presParOf" srcId="{CB5EEA40-9C7B-42E5-B60C-0EAC9EE3858D}" destId="{E66C1FF9-532B-47FE-9A52-DD8A553E8DCD}" srcOrd="41" destOrd="0" presId="urn:microsoft.com/office/officeart/2005/8/layout/hierarchy4"/>
    <dgm:cxn modelId="{2501ECBD-B79E-4E0B-9E4B-73B240F3B6C5}" type="presParOf" srcId="{CB5EEA40-9C7B-42E5-B60C-0EAC9EE3858D}" destId="{0EFDDD48-3B1C-4213-AAA3-E68EAFEE3B4F}" srcOrd="42" destOrd="0" presId="urn:microsoft.com/office/officeart/2005/8/layout/hierarchy4"/>
    <dgm:cxn modelId="{CB11F9E4-AF1E-4E9E-A61F-F74B0101AF9C}" type="presParOf" srcId="{0EFDDD48-3B1C-4213-AAA3-E68EAFEE3B4F}" destId="{BD011702-8998-41EE-B415-A8D2C315083E}" srcOrd="0" destOrd="0" presId="urn:microsoft.com/office/officeart/2005/8/layout/hierarchy4"/>
    <dgm:cxn modelId="{977B4986-6FEE-4065-B811-5FE3CA3DFC9E}" type="presParOf" srcId="{0EFDDD48-3B1C-4213-AAA3-E68EAFEE3B4F}" destId="{18BDEFA7-53FF-407E-9149-4BF5747BEC63}" srcOrd="1" destOrd="0" presId="urn:microsoft.com/office/officeart/2005/8/layout/hierarchy4"/>
    <dgm:cxn modelId="{DAF21B7F-8F14-41D1-B505-BDB7AB6E0760}" type="presParOf" srcId="{CB5EEA40-9C7B-42E5-B60C-0EAC9EE3858D}" destId="{5F9E297C-853C-4C9A-9DCC-1831B536EF12}" srcOrd="43" destOrd="0" presId="urn:microsoft.com/office/officeart/2005/8/layout/hierarchy4"/>
    <dgm:cxn modelId="{0E1957E2-68EE-47E6-9453-CD4F4B72A7D4}" type="presParOf" srcId="{CB5EEA40-9C7B-42E5-B60C-0EAC9EE3858D}" destId="{8EB62395-A95B-4E7C-9CAA-96132A0EE1F4}" srcOrd="44" destOrd="0" presId="urn:microsoft.com/office/officeart/2005/8/layout/hierarchy4"/>
    <dgm:cxn modelId="{19F3FA59-B248-4FF9-88E6-BA6553A1F045}" type="presParOf" srcId="{8EB62395-A95B-4E7C-9CAA-96132A0EE1F4}" destId="{F02FB910-ADDF-4AC5-A639-4073D8E42C11}" srcOrd="0" destOrd="0" presId="urn:microsoft.com/office/officeart/2005/8/layout/hierarchy4"/>
    <dgm:cxn modelId="{60984596-3BF2-40C7-82DD-2F1892B0C65D}" type="presParOf" srcId="{8EB62395-A95B-4E7C-9CAA-96132A0EE1F4}" destId="{BB9F3A77-68B3-4E41-8E17-7E0940E722A6}" srcOrd="1" destOrd="0" presId="urn:microsoft.com/office/officeart/2005/8/layout/hierarchy4"/>
    <dgm:cxn modelId="{FBC2EC22-2997-455B-8DE1-04DD469C4252}" type="presParOf" srcId="{CB5EEA40-9C7B-42E5-B60C-0EAC9EE3858D}" destId="{0E342145-7130-4837-8487-6CC55109836D}" srcOrd="45" destOrd="0" presId="urn:microsoft.com/office/officeart/2005/8/layout/hierarchy4"/>
    <dgm:cxn modelId="{AFC82F0B-1543-4E9B-95FB-9FE185CFA771}" type="presParOf" srcId="{CB5EEA40-9C7B-42E5-B60C-0EAC9EE3858D}" destId="{9960779A-1696-4654-8EDA-05F31A8B19B6}" srcOrd="46" destOrd="0" presId="urn:microsoft.com/office/officeart/2005/8/layout/hierarchy4"/>
    <dgm:cxn modelId="{E091B8FF-891C-48C2-99C3-952A56338805}" type="presParOf" srcId="{9960779A-1696-4654-8EDA-05F31A8B19B6}" destId="{9A6C5FE0-4D4B-452C-A8B5-F1E8995AC4EC}" srcOrd="0" destOrd="0" presId="urn:microsoft.com/office/officeart/2005/8/layout/hierarchy4"/>
    <dgm:cxn modelId="{5634A546-499A-4159-8C75-A8960BB5E115}" type="presParOf" srcId="{9960779A-1696-4654-8EDA-05F31A8B19B6}" destId="{5DB22279-A2FD-4780-A375-46C7EB3C2846}" srcOrd="1" destOrd="0" presId="urn:microsoft.com/office/officeart/2005/8/layout/hierarchy4"/>
    <dgm:cxn modelId="{CB419814-C85D-495D-9BB8-F77CEFFF6A3B}" type="presParOf" srcId="{CB5EEA40-9C7B-42E5-B60C-0EAC9EE3858D}" destId="{13752BB3-7DAD-42B9-B51C-345BAE94359B}" srcOrd="47" destOrd="0" presId="urn:microsoft.com/office/officeart/2005/8/layout/hierarchy4"/>
    <dgm:cxn modelId="{E12B454B-41D2-4E4C-8FD0-97F5D654AD18}" type="presParOf" srcId="{CB5EEA40-9C7B-42E5-B60C-0EAC9EE3858D}" destId="{C6025708-CA8E-4235-874C-F5B041D57495}" srcOrd="48" destOrd="0" presId="urn:microsoft.com/office/officeart/2005/8/layout/hierarchy4"/>
    <dgm:cxn modelId="{B2E973F3-9975-4AEA-85FF-868D49015FA7}" type="presParOf" srcId="{C6025708-CA8E-4235-874C-F5B041D57495}" destId="{B417144F-D885-4962-80C5-215F38407005}" srcOrd="0" destOrd="0" presId="urn:microsoft.com/office/officeart/2005/8/layout/hierarchy4"/>
    <dgm:cxn modelId="{2D2B3CAF-BEF0-4800-ABD3-755E426E7B58}" type="presParOf" srcId="{C6025708-CA8E-4235-874C-F5B041D57495}" destId="{0313D2EC-71B1-4A5C-95F0-E0F53773E964}" srcOrd="1" destOrd="0" presId="urn:microsoft.com/office/officeart/2005/8/layout/hierarchy4"/>
    <dgm:cxn modelId="{2A0D55BA-AF19-465A-B7FA-2C112D6660E2}" type="presParOf" srcId="{CB5EEA40-9C7B-42E5-B60C-0EAC9EE3858D}" destId="{29BAF290-D3C7-4563-B7A8-15C438199C2D}" srcOrd="49" destOrd="0" presId="urn:microsoft.com/office/officeart/2005/8/layout/hierarchy4"/>
    <dgm:cxn modelId="{972A1FF6-F725-48CC-871E-87FDCA23D375}" type="presParOf" srcId="{CB5EEA40-9C7B-42E5-B60C-0EAC9EE3858D}" destId="{436C0A21-1E10-4BE6-9227-E6EFA9FB3647}" srcOrd="50" destOrd="0" presId="urn:microsoft.com/office/officeart/2005/8/layout/hierarchy4"/>
    <dgm:cxn modelId="{9B28C373-04D9-42A8-A8F1-0BA9A63DC64C}" type="presParOf" srcId="{436C0A21-1E10-4BE6-9227-E6EFA9FB3647}" destId="{0BCA77FD-E046-461D-B327-59DCFFA6FD91}" srcOrd="0" destOrd="0" presId="urn:microsoft.com/office/officeart/2005/8/layout/hierarchy4"/>
    <dgm:cxn modelId="{3EE71EE7-C366-406D-96EF-037664F44ABC}" type="presParOf" srcId="{436C0A21-1E10-4BE6-9227-E6EFA9FB3647}" destId="{EDD299AF-2993-4F72-B01D-35430E7F8918}" srcOrd="1" destOrd="0" presId="urn:microsoft.com/office/officeart/2005/8/layout/hierarchy4"/>
    <dgm:cxn modelId="{E238C51C-41E1-40A7-A108-5D28A1A767E6}" type="presParOf" srcId="{CB5EEA40-9C7B-42E5-B60C-0EAC9EE3858D}" destId="{79A42653-2B2B-4924-A6A8-E0E286BBE3BC}" srcOrd="51" destOrd="0" presId="urn:microsoft.com/office/officeart/2005/8/layout/hierarchy4"/>
    <dgm:cxn modelId="{D572B1B1-FA09-4DCA-B67A-864688634655}" type="presParOf" srcId="{CB5EEA40-9C7B-42E5-B60C-0EAC9EE3858D}" destId="{73CF3309-0949-4101-9FF2-916A7865C8AA}" srcOrd="52" destOrd="0" presId="urn:microsoft.com/office/officeart/2005/8/layout/hierarchy4"/>
    <dgm:cxn modelId="{BA4AAEBD-8B48-4D14-95B2-FDC6D6144B99}" type="presParOf" srcId="{73CF3309-0949-4101-9FF2-916A7865C8AA}" destId="{48EF267A-E4C9-4877-83F8-DF0A4487535B}" srcOrd="0" destOrd="0" presId="urn:microsoft.com/office/officeart/2005/8/layout/hierarchy4"/>
    <dgm:cxn modelId="{C7868D68-FD07-4D05-9DB3-D46522097106}" type="presParOf" srcId="{73CF3309-0949-4101-9FF2-916A7865C8AA}" destId="{9BEC1FBF-72AC-4A9A-9F0E-30F86A249A45}" srcOrd="1" destOrd="0" presId="urn:microsoft.com/office/officeart/2005/8/layout/hierarchy4"/>
    <dgm:cxn modelId="{7B229391-BD05-4D4A-B4C8-DCD97FAC7807}" type="presParOf" srcId="{CB5EEA40-9C7B-42E5-B60C-0EAC9EE3858D}" destId="{A2BCCE64-4791-4974-916C-E537F69DB4B3}" srcOrd="53" destOrd="0" presId="urn:microsoft.com/office/officeart/2005/8/layout/hierarchy4"/>
    <dgm:cxn modelId="{F49DF82D-9C5E-40CF-8F4D-FF9FFCF07EF2}" type="presParOf" srcId="{CB5EEA40-9C7B-42E5-B60C-0EAC9EE3858D}" destId="{80859865-207C-4122-9443-E0B0BB2B5936}" srcOrd="54" destOrd="0" presId="urn:microsoft.com/office/officeart/2005/8/layout/hierarchy4"/>
    <dgm:cxn modelId="{B2BDC484-F53E-4980-A0EE-DDC1826C5E2B}" type="presParOf" srcId="{80859865-207C-4122-9443-E0B0BB2B5936}" destId="{348ACDFD-AF55-4D90-B42C-2C91A33C3EE1}" srcOrd="0" destOrd="0" presId="urn:microsoft.com/office/officeart/2005/8/layout/hierarchy4"/>
    <dgm:cxn modelId="{CE4BFB20-48B4-4146-804A-52AC2D71F133}" type="presParOf" srcId="{80859865-207C-4122-9443-E0B0BB2B5936}" destId="{3F07AFDE-6ED2-421E-9616-E96E213F9AD6}" srcOrd="1" destOrd="0" presId="urn:microsoft.com/office/officeart/2005/8/layout/hierarchy4"/>
    <dgm:cxn modelId="{2742BDE7-9E5A-47E6-A391-DBF23A7BE7E1}" type="presParOf" srcId="{458CB0AF-613D-4120-A15A-324830455AF9}" destId="{CD965B64-29EC-4EED-8DBE-F338D87A8B06}" srcOrd="3" destOrd="0" presId="urn:microsoft.com/office/officeart/2005/8/layout/hierarchy4"/>
    <dgm:cxn modelId="{7E311A39-F32E-44DC-8A5A-B42EA5020997}" type="presParOf" srcId="{458CB0AF-613D-4120-A15A-324830455AF9}" destId="{92005B25-5105-4921-803A-2C136E0746C1}" srcOrd="4" destOrd="0" presId="urn:microsoft.com/office/officeart/2005/8/layout/hierarchy4"/>
    <dgm:cxn modelId="{60C98D56-321C-43AF-AB71-3BE6607021A1}" type="presParOf" srcId="{92005B25-5105-4921-803A-2C136E0746C1}" destId="{9E8A0697-F9F0-4264-AC3A-FA37DF543CBD}" srcOrd="0" destOrd="0" presId="urn:microsoft.com/office/officeart/2005/8/layout/hierarchy4"/>
    <dgm:cxn modelId="{1E8647B3-550E-4C5B-B96A-D9B606CEAA6E}" type="presParOf" srcId="{92005B25-5105-4921-803A-2C136E0746C1}" destId="{391AA9C1-7124-41BF-94B6-C1D05318FDEC}" srcOrd="1" destOrd="0" presId="urn:microsoft.com/office/officeart/2005/8/layout/hierarchy4"/>
    <dgm:cxn modelId="{84C72865-870D-471E-B093-DADC806F0C98}" type="presParOf" srcId="{92005B25-5105-4921-803A-2C136E0746C1}" destId="{DE608AC5-3103-4527-9C56-EE59A40E0258}" srcOrd="2" destOrd="0" presId="urn:microsoft.com/office/officeart/2005/8/layout/hierarchy4"/>
    <dgm:cxn modelId="{B70D2B29-2C9F-4961-977A-DB36739E726D}" type="presParOf" srcId="{DE608AC5-3103-4527-9C56-EE59A40E0258}" destId="{3ACE30A9-B7A2-4D60-96E1-3EBF027DD29D}" srcOrd="0" destOrd="0" presId="urn:microsoft.com/office/officeart/2005/8/layout/hierarchy4"/>
    <dgm:cxn modelId="{9C993956-6430-4E1E-B37F-9AF851CCAD60}" type="presParOf" srcId="{3ACE30A9-B7A2-4D60-96E1-3EBF027DD29D}" destId="{C9764691-399A-46B8-9CBE-03F2950E5EE6}" srcOrd="0" destOrd="0" presId="urn:microsoft.com/office/officeart/2005/8/layout/hierarchy4"/>
    <dgm:cxn modelId="{368FCD42-2382-4FA7-B2E0-02F83A918744}" type="presParOf" srcId="{3ACE30A9-B7A2-4D60-96E1-3EBF027DD29D}" destId="{5D34EA67-5830-4C3D-ABFE-E0010566F6C1}" srcOrd="1" destOrd="0" presId="urn:microsoft.com/office/officeart/2005/8/layout/hierarchy4"/>
    <dgm:cxn modelId="{5DB3921B-7698-441D-AA6D-B9326BA8B521}" type="presParOf" srcId="{DE608AC5-3103-4527-9C56-EE59A40E0258}" destId="{F5127EB5-FF03-46D7-9F99-751ED12AA30F}" srcOrd="1" destOrd="0" presId="urn:microsoft.com/office/officeart/2005/8/layout/hierarchy4"/>
    <dgm:cxn modelId="{9CA78D81-17A7-45B1-9DF3-29756FB1BAA3}" type="presParOf" srcId="{DE608AC5-3103-4527-9C56-EE59A40E0258}" destId="{CC8C638F-8FF2-441E-B4E6-DAD0701C1E8C}" srcOrd="2" destOrd="0" presId="urn:microsoft.com/office/officeart/2005/8/layout/hierarchy4"/>
    <dgm:cxn modelId="{1605A44B-FD44-480B-9D75-719A6C13620E}" type="presParOf" srcId="{CC8C638F-8FF2-441E-B4E6-DAD0701C1E8C}" destId="{E4D8F296-6C55-4120-9CC3-EECCB900B234}" srcOrd="0" destOrd="0" presId="urn:microsoft.com/office/officeart/2005/8/layout/hierarchy4"/>
    <dgm:cxn modelId="{88623846-FD6B-47DD-8A38-F0AD9E37ADBC}" type="presParOf" srcId="{CC8C638F-8FF2-441E-B4E6-DAD0701C1E8C}" destId="{4350315A-352C-4422-9264-1E31064EE5FB}" srcOrd="1" destOrd="0" presId="urn:microsoft.com/office/officeart/2005/8/layout/hierarchy4"/>
    <dgm:cxn modelId="{E037EAE0-7009-464B-BCB2-B8BEB4010A85}" type="presParOf" srcId="{DE608AC5-3103-4527-9C56-EE59A40E0258}" destId="{73BEC115-3167-4626-9465-E3D73DB1A433}" srcOrd="3" destOrd="0" presId="urn:microsoft.com/office/officeart/2005/8/layout/hierarchy4"/>
    <dgm:cxn modelId="{402BC470-E15A-46F8-8AF4-D5D3DA440E9D}" type="presParOf" srcId="{DE608AC5-3103-4527-9C56-EE59A40E0258}" destId="{AADD06C5-01FC-43BC-83F2-200E03458C9C}" srcOrd="4" destOrd="0" presId="urn:microsoft.com/office/officeart/2005/8/layout/hierarchy4"/>
    <dgm:cxn modelId="{5138EC1E-84D6-448D-93C2-662B12A9DE66}" type="presParOf" srcId="{AADD06C5-01FC-43BC-83F2-200E03458C9C}" destId="{D0B21097-AD73-408B-8FDD-9A39020FFE01}" srcOrd="0" destOrd="0" presId="urn:microsoft.com/office/officeart/2005/8/layout/hierarchy4"/>
    <dgm:cxn modelId="{C5A8DDE6-A523-419A-A2D2-5A22831E01AF}" type="presParOf" srcId="{AADD06C5-01FC-43BC-83F2-200E03458C9C}" destId="{CD599282-5AD4-4DE9-A535-6FC4293407A4}" srcOrd="1" destOrd="0" presId="urn:microsoft.com/office/officeart/2005/8/layout/hierarchy4"/>
    <dgm:cxn modelId="{71B9621C-6B83-4F60-903D-9F050E16F769}" type="presParOf" srcId="{DE608AC5-3103-4527-9C56-EE59A40E0258}" destId="{E6D47874-D175-4EF1-997D-622A01C9F4FE}" srcOrd="5" destOrd="0" presId="urn:microsoft.com/office/officeart/2005/8/layout/hierarchy4"/>
    <dgm:cxn modelId="{5F2A912B-3C49-42F6-B782-18FA31524FEA}" type="presParOf" srcId="{DE608AC5-3103-4527-9C56-EE59A40E0258}" destId="{16C74A06-D3BF-449E-B2CE-405F47F720DB}" srcOrd="6" destOrd="0" presId="urn:microsoft.com/office/officeart/2005/8/layout/hierarchy4"/>
    <dgm:cxn modelId="{6B599372-FCDD-49E1-B5C9-B280DE3E74CF}" type="presParOf" srcId="{16C74A06-D3BF-449E-B2CE-405F47F720DB}" destId="{5A45FCE3-666C-4E83-A602-3DA331060D34}" srcOrd="0" destOrd="0" presId="urn:microsoft.com/office/officeart/2005/8/layout/hierarchy4"/>
    <dgm:cxn modelId="{7876003B-8784-499D-92E0-8EBA57BF6A44}" type="presParOf" srcId="{16C74A06-D3BF-449E-B2CE-405F47F720DB}" destId="{AACAF41B-7CEC-499D-A4AD-1E83D795E5E0}" srcOrd="1" destOrd="0" presId="urn:microsoft.com/office/officeart/2005/8/layout/hierarchy4"/>
    <dgm:cxn modelId="{850140C4-1CEC-439C-A198-393A70891DF5}" type="presParOf" srcId="{DE608AC5-3103-4527-9C56-EE59A40E0258}" destId="{90C5A305-8659-4909-8A0A-DE51DC4BD6D5}" srcOrd="7" destOrd="0" presId="urn:microsoft.com/office/officeart/2005/8/layout/hierarchy4"/>
    <dgm:cxn modelId="{6511965D-030B-4CFD-83DD-4DFBE94D3108}" type="presParOf" srcId="{DE608AC5-3103-4527-9C56-EE59A40E0258}" destId="{9D814B1F-5368-48B8-A377-5BD0C71FE9A4}" srcOrd="8" destOrd="0" presId="urn:microsoft.com/office/officeart/2005/8/layout/hierarchy4"/>
    <dgm:cxn modelId="{6FF93F40-31D1-4A0B-ABCE-534BE657F2AF}" type="presParOf" srcId="{9D814B1F-5368-48B8-A377-5BD0C71FE9A4}" destId="{12DD6C6F-513C-4012-9B4F-FA36FB27D4FA}" srcOrd="0" destOrd="0" presId="urn:microsoft.com/office/officeart/2005/8/layout/hierarchy4"/>
    <dgm:cxn modelId="{EA376CD9-E254-4125-B79A-4C0CB2666DE2}" type="presParOf" srcId="{9D814B1F-5368-48B8-A377-5BD0C71FE9A4}" destId="{5BD8EB89-8503-4012-A5ED-1F0830A7C9D7}" srcOrd="1" destOrd="0" presId="urn:microsoft.com/office/officeart/2005/8/layout/hierarchy4"/>
    <dgm:cxn modelId="{01DE6D5A-8E4E-4639-9933-4F4D3F91DC34}" type="presParOf" srcId="{DE608AC5-3103-4527-9C56-EE59A40E0258}" destId="{98329723-CAB9-4C9B-B04A-3FB1A0173119}" srcOrd="9" destOrd="0" presId="urn:microsoft.com/office/officeart/2005/8/layout/hierarchy4"/>
    <dgm:cxn modelId="{2EB08F26-CAB7-45D2-979C-AD1B404133D8}" type="presParOf" srcId="{DE608AC5-3103-4527-9C56-EE59A40E0258}" destId="{D9C431C5-4434-429B-97B6-D01D759960C8}" srcOrd="10" destOrd="0" presId="urn:microsoft.com/office/officeart/2005/8/layout/hierarchy4"/>
    <dgm:cxn modelId="{CB35B317-77C9-4B65-8425-7644B84694C4}" type="presParOf" srcId="{D9C431C5-4434-429B-97B6-D01D759960C8}" destId="{4EF2B9A6-53D0-4783-8B94-73BB016716C4}" srcOrd="0" destOrd="0" presId="urn:microsoft.com/office/officeart/2005/8/layout/hierarchy4"/>
    <dgm:cxn modelId="{43215C75-7AA3-4B48-948C-67D048B859C1}" type="presParOf" srcId="{D9C431C5-4434-429B-97B6-D01D759960C8}" destId="{140374C3-1986-43E2-A232-86FAE1DEC194}" srcOrd="1" destOrd="0" presId="urn:microsoft.com/office/officeart/2005/8/layout/hierarchy4"/>
    <dgm:cxn modelId="{83531C9B-94FE-4855-99DC-EFCF57DE8220}" type="presParOf" srcId="{DE608AC5-3103-4527-9C56-EE59A40E0258}" destId="{90481FCC-573F-498A-8E2A-3F514F73E17C}" srcOrd="11" destOrd="0" presId="urn:microsoft.com/office/officeart/2005/8/layout/hierarchy4"/>
    <dgm:cxn modelId="{959167E1-6792-48A9-B696-1F5AF0DA7CD6}" type="presParOf" srcId="{DE608AC5-3103-4527-9C56-EE59A40E0258}" destId="{BF8AFE0D-B4C5-4F5A-ADED-552A63B60E1A}" srcOrd="12" destOrd="0" presId="urn:microsoft.com/office/officeart/2005/8/layout/hierarchy4"/>
    <dgm:cxn modelId="{96D68FCB-99DA-404A-A71D-827746722904}" type="presParOf" srcId="{BF8AFE0D-B4C5-4F5A-ADED-552A63B60E1A}" destId="{4B29C9AA-6D44-4047-84B4-7082061779FB}" srcOrd="0" destOrd="0" presId="urn:microsoft.com/office/officeart/2005/8/layout/hierarchy4"/>
    <dgm:cxn modelId="{63376623-EFA4-4A4D-8DE6-A09A8965FEE0}" type="presParOf" srcId="{BF8AFE0D-B4C5-4F5A-ADED-552A63B60E1A}" destId="{600ED7D1-0C51-4DEA-AAAA-6249229EA8D4}" srcOrd="1" destOrd="0" presId="urn:microsoft.com/office/officeart/2005/8/layout/hierarchy4"/>
    <dgm:cxn modelId="{A32E7C0D-7151-42BB-9CDF-4E31D9FF60A9}" type="presParOf" srcId="{DE608AC5-3103-4527-9C56-EE59A40E0258}" destId="{F137E4D7-0A87-4890-B17E-796CAC26493D}" srcOrd="13" destOrd="0" presId="urn:microsoft.com/office/officeart/2005/8/layout/hierarchy4"/>
    <dgm:cxn modelId="{4652BAE1-725F-42B4-85F8-31C2339290DC}" type="presParOf" srcId="{DE608AC5-3103-4527-9C56-EE59A40E0258}" destId="{34B2B9C0-F85E-4AA7-992F-90FBAC5CB64D}" srcOrd="14" destOrd="0" presId="urn:microsoft.com/office/officeart/2005/8/layout/hierarchy4"/>
    <dgm:cxn modelId="{5FE263C7-E3F0-4548-BC98-52526173AA11}" type="presParOf" srcId="{34B2B9C0-F85E-4AA7-992F-90FBAC5CB64D}" destId="{8E083001-C032-4940-BBB7-4639385EAAB9}" srcOrd="0" destOrd="0" presId="urn:microsoft.com/office/officeart/2005/8/layout/hierarchy4"/>
    <dgm:cxn modelId="{6E47816A-9D91-4848-8125-EC5C3D1FE001}" type="presParOf" srcId="{34B2B9C0-F85E-4AA7-992F-90FBAC5CB64D}" destId="{34CDE988-DAC9-4C8D-8185-CB167B4F41C5}" srcOrd="1" destOrd="0" presId="urn:microsoft.com/office/officeart/2005/8/layout/hierarchy4"/>
    <dgm:cxn modelId="{3119398A-0D44-4343-9475-4E48033BA050}" type="presParOf" srcId="{DE608AC5-3103-4527-9C56-EE59A40E0258}" destId="{972A8210-1BE4-4F63-AB46-5A4DA62C3430}" srcOrd="15" destOrd="0" presId="urn:microsoft.com/office/officeart/2005/8/layout/hierarchy4"/>
    <dgm:cxn modelId="{3F10537D-91A0-4B2A-B636-C5C410AE0CDF}" type="presParOf" srcId="{DE608AC5-3103-4527-9C56-EE59A40E0258}" destId="{CD37CDA7-0632-4C9F-8602-1641C896100A}" srcOrd="16" destOrd="0" presId="urn:microsoft.com/office/officeart/2005/8/layout/hierarchy4"/>
    <dgm:cxn modelId="{70E35800-057C-4B09-84BF-D5B35032FEC3}" type="presParOf" srcId="{CD37CDA7-0632-4C9F-8602-1641C896100A}" destId="{49BA51C3-9D30-4100-8F31-B6B14D1A800A}" srcOrd="0" destOrd="0" presId="urn:microsoft.com/office/officeart/2005/8/layout/hierarchy4"/>
    <dgm:cxn modelId="{A5AB94B5-E264-443A-965F-88E010A7934C}" type="presParOf" srcId="{CD37CDA7-0632-4C9F-8602-1641C896100A}" destId="{01335C75-33FD-48DB-B5C8-0E3DC3353ED4}" srcOrd="1" destOrd="0" presId="urn:microsoft.com/office/officeart/2005/8/layout/hierarchy4"/>
    <dgm:cxn modelId="{56D0FEEC-EF81-4E30-8DC5-2228E83BD6AE}" type="presParOf" srcId="{DE608AC5-3103-4527-9C56-EE59A40E0258}" destId="{F1F83949-76D9-4D81-B986-16663AF74654}" srcOrd="17" destOrd="0" presId="urn:microsoft.com/office/officeart/2005/8/layout/hierarchy4"/>
    <dgm:cxn modelId="{D5295DAA-8A53-4030-A5E0-B561FC45F436}" type="presParOf" srcId="{DE608AC5-3103-4527-9C56-EE59A40E0258}" destId="{502B2CCA-ED6A-412C-86DF-ACFE713B84AA}" srcOrd="18" destOrd="0" presId="urn:microsoft.com/office/officeart/2005/8/layout/hierarchy4"/>
    <dgm:cxn modelId="{D2522DA3-E654-4E4F-B856-3BA118C5DD03}" type="presParOf" srcId="{502B2CCA-ED6A-412C-86DF-ACFE713B84AA}" destId="{2678433E-7686-4479-B0F5-4CE0AB8AB526}" srcOrd="0" destOrd="0" presId="urn:microsoft.com/office/officeart/2005/8/layout/hierarchy4"/>
    <dgm:cxn modelId="{A8F0B87B-BC6E-4E2E-A86D-316C1B63A523}" type="presParOf" srcId="{502B2CCA-ED6A-412C-86DF-ACFE713B84AA}" destId="{705B6838-BF86-4BB8-9FF7-501435F50E95}" srcOrd="1" destOrd="0" presId="urn:microsoft.com/office/officeart/2005/8/layout/hierarchy4"/>
    <dgm:cxn modelId="{102F117B-217B-486B-B4A7-671448904CE8}" type="presParOf" srcId="{DE608AC5-3103-4527-9C56-EE59A40E0258}" destId="{A540046A-6A20-4ECC-BEF3-7F805BC8CEFB}" srcOrd="19" destOrd="0" presId="urn:microsoft.com/office/officeart/2005/8/layout/hierarchy4"/>
    <dgm:cxn modelId="{A13F8A00-892D-4F87-9A26-39F6CBEDEB53}" type="presParOf" srcId="{DE608AC5-3103-4527-9C56-EE59A40E0258}" destId="{934833F5-4A08-4885-8344-973D1A32C516}" srcOrd="20" destOrd="0" presId="urn:microsoft.com/office/officeart/2005/8/layout/hierarchy4"/>
    <dgm:cxn modelId="{62D71DC8-8EBD-45B7-8FF1-1CA307D7483A}" type="presParOf" srcId="{934833F5-4A08-4885-8344-973D1A32C516}" destId="{E4D9EA3B-9C88-4EF8-A936-DC96839989A3}" srcOrd="0" destOrd="0" presId="urn:microsoft.com/office/officeart/2005/8/layout/hierarchy4"/>
    <dgm:cxn modelId="{B2EB8778-7019-43DE-A83E-E2FF6879108A}" type="presParOf" srcId="{934833F5-4A08-4885-8344-973D1A32C516}" destId="{F8F9FD21-7E98-4A3F-B02F-A48EB3DBFCE6}" srcOrd="1" destOrd="0" presId="urn:microsoft.com/office/officeart/2005/8/layout/hierarchy4"/>
    <dgm:cxn modelId="{D58D33B9-C3B8-4062-940B-3F8ED12DD582}" type="presParOf" srcId="{DE608AC5-3103-4527-9C56-EE59A40E0258}" destId="{9024C162-1FA2-4846-AF7A-91E6A1EAEFA8}" srcOrd="21" destOrd="0" presId="urn:microsoft.com/office/officeart/2005/8/layout/hierarchy4"/>
    <dgm:cxn modelId="{1A6BEB58-EF91-4C94-8E35-408EB93FA539}" type="presParOf" srcId="{DE608AC5-3103-4527-9C56-EE59A40E0258}" destId="{12D92C7D-4915-4564-9F22-7C5D759DEB48}" srcOrd="22" destOrd="0" presId="urn:microsoft.com/office/officeart/2005/8/layout/hierarchy4"/>
    <dgm:cxn modelId="{A151F126-8D09-41BA-B0A2-1BA4291BE9C0}" type="presParOf" srcId="{12D92C7D-4915-4564-9F22-7C5D759DEB48}" destId="{3D71B88A-A5D7-4A20-BDFB-2825F272DFB1}" srcOrd="0" destOrd="0" presId="urn:microsoft.com/office/officeart/2005/8/layout/hierarchy4"/>
    <dgm:cxn modelId="{A2E788FC-B0EC-4635-9321-E4ED40275F28}" type="presParOf" srcId="{12D92C7D-4915-4564-9F22-7C5D759DEB48}" destId="{0E71787E-AA88-4489-917E-29556359DF05}" srcOrd="1" destOrd="0" presId="urn:microsoft.com/office/officeart/2005/8/layout/hierarchy4"/>
    <dgm:cxn modelId="{FB2115A3-E664-4C31-AB77-3B6028076F81}" type="presParOf" srcId="{DE608AC5-3103-4527-9C56-EE59A40E0258}" destId="{4FEBD794-9A5E-4884-9DDE-D1F9667CED8E}" srcOrd="23" destOrd="0" presId="urn:microsoft.com/office/officeart/2005/8/layout/hierarchy4"/>
    <dgm:cxn modelId="{10308180-B4B9-4748-BA48-9FBF30616CFE}" type="presParOf" srcId="{DE608AC5-3103-4527-9C56-EE59A40E0258}" destId="{EDAF75E9-606B-43AD-96BF-83136BB702BB}" srcOrd="24" destOrd="0" presId="urn:microsoft.com/office/officeart/2005/8/layout/hierarchy4"/>
    <dgm:cxn modelId="{A0CF5962-5420-47AB-A875-61841D8B51FA}" type="presParOf" srcId="{EDAF75E9-606B-43AD-96BF-83136BB702BB}" destId="{6DB7A01E-0D13-40A6-9A12-6510D1C6BE60}" srcOrd="0" destOrd="0" presId="urn:microsoft.com/office/officeart/2005/8/layout/hierarchy4"/>
    <dgm:cxn modelId="{07EFDBF4-03DC-4BD9-9B37-978312C09A9C}" type="presParOf" srcId="{EDAF75E9-606B-43AD-96BF-83136BB702BB}" destId="{2FEEE2BA-190D-4F3C-A3B7-98B59CE9F01B}" srcOrd="1" destOrd="0" presId="urn:microsoft.com/office/officeart/2005/8/layout/hierarchy4"/>
    <dgm:cxn modelId="{D41DA0B2-3CAD-4A5F-920E-D34D49878554}" type="presParOf" srcId="{DE608AC5-3103-4527-9C56-EE59A40E0258}" destId="{C6966954-AC96-480E-BE09-370FB5BAAC42}" srcOrd="25" destOrd="0" presId="urn:microsoft.com/office/officeart/2005/8/layout/hierarchy4"/>
    <dgm:cxn modelId="{5C529C54-8714-428A-934E-15CE53F281D3}" type="presParOf" srcId="{DE608AC5-3103-4527-9C56-EE59A40E0258}" destId="{650F699E-3BC1-4FE5-8D0A-2F58927B2A8B}" srcOrd="26" destOrd="0" presId="urn:microsoft.com/office/officeart/2005/8/layout/hierarchy4"/>
    <dgm:cxn modelId="{C566C55A-34F7-484B-9A2D-0FB4A92372E7}" type="presParOf" srcId="{650F699E-3BC1-4FE5-8D0A-2F58927B2A8B}" destId="{7659B58F-472D-49E2-9DC7-E64F55706520}" srcOrd="0" destOrd="0" presId="urn:microsoft.com/office/officeart/2005/8/layout/hierarchy4"/>
    <dgm:cxn modelId="{6CAD7D1A-3954-4724-AE27-A541DEA8424D}" type="presParOf" srcId="{650F699E-3BC1-4FE5-8D0A-2F58927B2A8B}" destId="{F0FB0D16-90FE-4337-A515-EB69CA54302F}" srcOrd="1" destOrd="0" presId="urn:microsoft.com/office/officeart/2005/8/layout/hierarchy4"/>
    <dgm:cxn modelId="{D1A8DB60-316B-489C-AF1F-4CAAC66FD0D0}" type="presParOf" srcId="{DE608AC5-3103-4527-9C56-EE59A40E0258}" destId="{200968F2-C6C7-4AD2-A808-01A8479C48C9}" srcOrd="27" destOrd="0" presId="urn:microsoft.com/office/officeart/2005/8/layout/hierarchy4"/>
    <dgm:cxn modelId="{A8BC8EA5-33D3-4A36-B355-DE2503218C36}" type="presParOf" srcId="{DE608AC5-3103-4527-9C56-EE59A40E0258}" destId="{E8DEF180-C0AC-4634-8C49-E1D8CA7A13D2}" srcOrd="28" destOrd="0" presId="urn:microsoft.com/office/officeart/2005/8/layout/hierarchy4"/>
    <dgm:cxn modelId="{401BA8F9-53E9-4ABA-B2FA-D9B6461B2853}" type="presParOf" srcId="{E8DEF180-C0AC-4634-8C49-E1D8CA7A13D2}" destId="{981B53A0-BE63-4441-BE65-954B3C83BA2A}" srcOrd="0" destOrd="0" presId="urn:microsoft.com/office/officeart/2005/8/layout/hierarchy4"/>
    <dgm:cxn modelId="{D82AA4DC-0C1C-49A2-B15A-FE22C7635476}" type="presParOf" srcId="{E8DEF180-C0AC-4634-8C49-E1D8CA7A13D2}" destId="{85861580-D0A3-4E4D-A4ED-314D80D95E25}" srcOrd="1" destOrd="0" presId="urn:microsoft.com/office/officeart/2005/8/layout/hierarchy4"/>
    <dgm:cxn modelId="{439E6495-CF3B-4041-B291-6B1B62A9F319}" type="presParOf" srcId="{DE608AC5-3103-4527-9C56-EE59A40E0258}" destId="{5BE8635C-8865-44E5-A4CA-D2AE9BB059C3}" srcOrd="29" destOrd="0" presId="urn:microsoft.com/office/officeart/2005/8/layout/hierarchy4"/>
    <dgm:cxn modelId="{5FD3EF53-7253-4CD0-89A8-1C8884A7BD36}" type="presParOf" srcId="{DE608AC5-3103-4527-9C56-EE59A40E0258}" destId="{16FB9FE1-6CC8-4630-B6ED-7D381248E568}" srcOrd="30" destOrd="0" presId="urn:microsoft.com/office/officeart/2005/8/layout/hierarchy4"/>
    <dgm:cxn modelId="{67824B34-2B1F-40BF-9706-691406D2DADF}" type="presParOf" srcId="{16FB9FE1-6CC8-4630-B6ED-7D381248E568}" destId="{31EB587D-09D1-42F6-8FA5-E1741080F3E3}" srcOrd="0" destOrd="0" presId="urn:microsoft.com/office/officeart/2005/8/layout/hierarchy4"/>
    <dgm:cxn modelId="{0C391C12-A55C-4B94-BF0C-775C5D7B9DAE}" type="presParOf" srcId="{16FB9FE1-6CC8-4630-B6ED-7D381248E568}" destId="{C4A3D901-67BA-441C-BC25-47AF40762114}" srcOrd="1" destOrd="0" presId="urn:microsoft.com/office/officeart/2005/8/layout/hierarchy4"/>
    <dgm:cxn modelId="{1C8F7460-82AB-43AD-A1D0-A268519EFD6B}" type="presParOf" srcId="{DE608AC5-3103-4527-9C56-EE59A40E0258}" destId="{10D2FCC7-A054-4432-A0D6-959B39FDA29A}" srcOrd="31" destOrd="0" presId="urn:microsoft.com/office/officeart/2005/8/layout/hierarchy4"/>
    <dgm:cxn modelId="{616CCDDF-992A-4D8D-8ACE-180D3B192BF6}" type="presParOf" srcId="{DE608AC5-3103-4527-9C56-EE59A40E0258}" destId="{18EDA531-4051-49A5-947E-6454170B229C}" srcOrd="32" destOrd="0" presId="urn:microsoft.com/office/officeart/2005/8/layout/hierarchy4"/>
    <dgm:cxn modelId="{71E968B9-AAF2-453E-AB68-771AB25DA310}" type="presParOf" srcId="{18EDA531-4051-49A5-947E-6454170B229C}" destId="{6A9F2E91-DBBC-4719-80DB-4557AC3C06D5}" srcOrd="0" destOrd="0" presId="urn:microsoft.com/office/officeart/2005/8/layout/hierarchy4"/>
    <dgm:cxn modelId="{9BF507B8-FAAC-4425-B6BF-431A94673119}" type="presParOf" srcId="{18EDA531-4051-49A5-947E-6454170B229C}" destId="{40569A5F-7E9E-4308-A984-9B11A9D465B0}" srcOrd="1" destOrd="0" presId="urn:microsoft.com/office/officeart/2005/8/layout/hierarchy4"/>
    <dgm:cxn modelId="{3B5F591D-7F82-4744-954B-06E4F2ADB96B}" type="presParOf" srcId="{DE608AC5-3103-4527-9C56-EE59A40E0258}" destId="{A3883CE0-A7E9-42CC-A73B-D624B629D214}" srcOrd="33" destOrd="0" presId="urn:microsoft.com/office/officeart/2005/8/layout/hierarchy4"/>
    <dgm:cxn modelId="{ABC5A985-CC7A-44F2-85AA-D139E22F3E77}" type="presParOf" srcId="{DE608AC5-3103-4527-9C56-EE59A40E0258}" destId="{7946A0C2-7D53-4861-902A-65AC5B67B2F1}" srcOrd="34" destOrd="0" presId="urn:microsoft.com/office/officeart/2005/8/layout/hierarchy4"/>
    <dgm:cxn modelId="{790E02E6-D221-4B11-A59E-5EDF5DF22FC0}" type="presParOf" srcId="{7946A0C2-7D53-4861-902A-65AC5B67B2F1}" destId="{BA1ACC70-9181-4C6E-B8CC-A153DF4F3F5A}" srcOrd="0" destOrd="0" presId="urn:microsoft.com/office/officeart/2005/8/layout/hierarchy4"/>
    <dgm:cxn modelId="{F7DA85F1-0635-4164-BA96-B5E527C6742D}" type="presParOf" srcId="{7946A0C2-7D53-4861-902A-65AC5B67B2F1}" destId="{A20B5E1A-D05B-4631-AA5F-3851EAD48A49}" srcOrd="1" destOrd="0" presId="urn:microsoft.com/office/officeart/2005/8/layout/hierarchy4"/>
    <dgm:cxn modelId="{43FE6B60-6E1F-4FDE-A61E-7A017ADE417D}" type="presParOf" srcId="{DE608AC5-3103-4527-9C56-EE59A40E0258}" destId="{297228BE-3E6F-498E-BA18-B7B5F991B83A}" srcOrd="35" destOrd="0" presId="urn:microsoft.com/office/officeart/2005/8/layout/hierarchy4"/>
    <dgm:cxn modelId="{A077FCDD-2E7D-410D-B28E-8A54F04D3897}" type="presParOf" srcId="{DE608AC5-3103-4527-9C56-EE59A40E0258}" destId="{E160F90E-1D2D-43B8-9DA7-58E1CC8ABB71}" srcOrd="36" destOrd="0" presId="urn:microsoft.com/office/officeart/2005/8/layout/hierarchy4"/>
    <dgm:cxn modelId="{84472E1A-31D4-4A4B-B7EC-40C44156582A}" type="presParOf" srcId="{E160F90E-1D2D-43B8-9DA7-58E1CC8ABB71}" destId="{DC490CB3-BB1A-4B9E-8AA5-5C705DC7A072}" srcOrd="0" destOrd="0" presId="urn:microsoft.com/office/officeart/2005/8/layout/hierarchy4"/>
    <dgm:cxn modelId="{D3CFE7E7-754A-418C-9DB5-891562981B1D}" type="presParOf" srcId="{E160F90E-1D2D-43B8-9DA7-58E1CC8ABB71}" destId="{E1D664C2-45AF-4151-941F-B9757C498E77}" srcOrd="1" destOrd="0" presId="urn:microsoft.com/office/officeart/2005/8/layout/hierarchy4"/>
    <dgm:cxn modelId="{B7B6FEE5-1151-4595-AEE5-C74205CE25AA}" type="presParOf" srcId="{DE608AC5-3103-4527-9C56-EE59A40E0258}" destId="{FA6B9313-E4EB-4E52-BCEF-594ADEA3C953}" srcOrd="37" destOrd="0" presId="urn:microsoft.com/office/officeart/2005/8/layout/hierarchy4"/>
    <dgm:cxn modelId="{DB25A915-D374-450D-9237-AACCF5AB0BC4}" type="presParOf" srcId="{DE608AC5-3103-4527-9C56-EE59A40E0258}" destId="{DEF03F4D-04B8-4DB2-ABC7-C9E735532AF5}" srcOrd="38" destOrd="0" presId="urn:microsoft.com/office/officeart/2005/8/layout/hierarchy4"/>
    <dgm:cxn modelId="{57CF2AAB-4B20-4CE5-AF94-D41FBFC6F81C}" type="presParOf" srcId="{DEF03F4D-04B8-4DB2-ABC7-C9E735532AF5}" destId="{AE0774D0-FB4F-4139-A60F-B607DEF3872B}" srcOrd="0" destOrd="0" presId="urn:microsoft.com/office/officeart/2005/8/layout/hierarchy4"/>
    <dgm:cxn modelId="{13A678F4-C111-405C-82BC-3E3BAC7F6EC4}" type="presParOf" srcId="{DEF03F4D-04B8-4DB2-ABC7-C9E735532AF5}" destId="{D78FDC74-CDF6-4E0E-8CC8-38D07BC9BE42}" srcOrd="1" destOrd="0" presId="urn:microsoft.com/office/officeart/2005/8/layout/hierarchy4"/>
    <dgm:cxn modelId="{444F38D6-ADA5-4795-9DEF-B1CB5AB39737}" type="presParOf" srcId="{DE608AC5-3103-4527-9C56-EE59A40E0258}" destId="{131D5E2B-FCE6-4991-BC1D-7CB8EE0AA176}" srcOrd="39" destOrd="0" presId="urn:microsoft.com/office/officeart/2005/8/layout/hierarchy4"/>
    <dgm:cxn modelId="{15D84BBE-8AE3-4BA2-9E19-DDAB150CEE98}" type="presParOf" srcId="{DE608AC5-3103-4527-9C56-EE59A40E0258}" destId="{2AFD5488-5CBF-4587-85D6-2D95A559E851}" srcOrd="40" destOrd="0" presId="urn:microsoft.com/office/officeart/2005/8/layout/hierarchy4"/>
    <dgm:cxn modelId="{CBEC454D-6E1F-47EB-A632-392071ECEA8C}" type="presParOf" srcId="{2AFD5488-5CBF-4587-85D6-2D95A559E851}" destId="{FDF48581-FF8C-4786-8361-11578A320553}" srcOrd="0" destOrd="0" presId="urn:microsoft.com/office/officeart/2005/8/layout/hierarchy4"/>
    <dgm:cxn modelId="{FE2933E5-EA86-45F1-A440-1A08FC7A9029}" type="presParOf" srcId="{2AFD5488-5CBF-4587-85D6-2D95A559E851}" destId="{692270BA-4E31-48B5-978C-57F6426A2A23}" srcOrd="1" destOrd="0" presId="urn:microsoft.com/office/officeart/2005/8/layout/hierarchy4"/>
    <dgm:cxn modelId="{7E832EFE-1940-4CF9-8DB6-AA1A23867722}" type="presParOf" srcId="{DE608AC5-3103-4527-9C56-EE59A40E0258}" destId="{60A69932-1B04-4BAF-9B45-53BFC3721E1D}" srcOrd="41" destOrd="0" presId="urn:microsoft.com/office/officeart/2005/8/layout/hierarchy4"/>
    <dgm:cxn modelId="{9403811E-DB18-4153-95B0-00E773D5E391}" type="presParOf" srcId="{DE608AC5-3103-4527-9C56-EE59A40E0258}" destId="{DD057F92-D002-4D02-A533-B79A20E0572F}" srcOrd="42" destOrd="0" presId="urn:microsoft.com/office/officeart/2005/8/layout/hierarchy4"/>
    <dgm:cxn modelId="{70728807-F646-449E-8201-0AC4CC311E8B}" type="presParOf" srcId="{DD057F92-D002-4D02-A533-B79A20E0572F}" destId="{B7EC48C7-F961-4987-A7DF-CC315C44A814}" srcOrd="0" destOrd="0" presId="urn:microsoft.com/office/officeart/2005/8/layout/hierarchy4"/>
    <dgm:cxn modelId="{5492D61B-A3B3-4B61-94FC-A6A056E8E3BF}" type="presParOf" srcId="{DD057F92-D002-4D02-A533-B79A20E0572F}" destId="{AF82E16C-755E-4E16-BBA1-B2D1F6D27A50}" srcOrd="1" destOrd="0" presId="urn:microsoft.com/office/officeart/2005/8/layout/hierarchy4"/>
    <dgm:cxn modelId="{B09F9465-86A6-4864-9FF8-4696180CF691}" type="presParOf" srcId="{DE608AC5-3103-4527-9C56-EE59A40E0258}" destId="{68A97273-9049-46E7-9F92-CC3E9EE7FF31}" srcOrd="43" destOrd="0" presId="urn:microsoft.com/office/officeart/2005/8/layout/hierarchy4"/>
    <dgm:cxn modelId="{3BC3496F-65AE-4435-A1DA-C64997C3210A}" type="presParOf" srcId="{DE608AC5-3103-4527-9C56-EE59A40E0258}" destId="{971BB285-BFAF-428F-A98B-249401A4B691}" srcOrd="44" destOrd="0" presId="urn:microsoft.com/office/officeart/2005/8/layout/hierarchy4"/>
    <dgm:cxn modelId="{0F5437FC-C7F7-4421-B967-BCA630EC55B0}" type="presParOf" srcId="{971BB285-BFAF-428F-A98B-249401A4B691}" destId="{053A91AA-0388-433D-9C03-4FD2BD113810}" srcOrd="0" destOrd="0" presId="urn:microsoft.com/office/officeart/2005/8/layout/hierarchy4"/>
    <dgm:cxn modelId="{899A7894-247F-44AF-ADAE-1EF5561202B0}" type="presParOf" srcId="{971BB285-BFAF-428F-A98B-249401A4B691}" destId="{F7B75529-AC2E-4C29-A87D-3B72FE368496}" srcOrd="1" destOrd="0" presId="urn:microsoft.com/office/officeart/2005/8/layout/hierarchy4"/>
    <dgm:cxn modelId="{3EC574E3-74C3-42C0-8C28-79DD50472D25}" type="presParOf" srcId="{DE608AC5-3103-4527-9C56-EE59A40E0258}" destId="{6C743185-4613-4081-A2FC-0B3F262252E3}" srcOrd="45" destOrd="0" presId="urn:microsoft.com/office/officeart/2005/8/layout/hierarchy4"/>
    <dgm:cxn modelId="{D39E1322-3E8D-4D0E-B1B6-898F586C6D58}" type="presParOf" srcId="{DE608AC5-3103-4527-9C56-EE59A40E0258}" destId="{2BBD2D7E-FDCE-4553-A7F6-97F90480A523}" srcOrd="46" destOrd="0" presId="urn:microsoft.com/office/officeart/2005/8/layout/hierarchy4"/>
    <dgm:cxn modelId="{D4B25068-64C7-4B14-8735-F5FEBEB5D3F5}" type="presParOf" srcId="{2BBD2D7E-FDCE-4553-A7F6-97F90480A523}" destId="{3AFACA2F-D9D6-443D-A4D6-71B55DBA4394}" srcOrd="0" destOrd="0" presId="urn:microsoft.com/office/officeart/2005/8/layout/hierarchy4"/>
    <dgm:cxn modelId="{B9B77597-9990-4666-84B1-90C5BB631074}" type="presParOf" srcId="{2BBD2D7E-FDCE-4553-A7F6-97F90480A523}" destId="{B92702D4-8B0F-4E3C-99C2-43D51388DA7D}" srcOrd="1" destOrd="0" presId="urn:microsoft.com/office/officeart/2005/8/layout/hierarchy4"/>
    <dgm:cxn modelId="{511AC6F5-F319-445D-9A1B-B3A15E3C11E0}" type="presParOf" srcId="{DE608AC5-3103-4527-9C56-EE59A40E0258}" destId="{36A72B66-B7C3-46EC-B132-4062FD48E832}" srcOrd="47" destOrd="0" presId="urn:microsoft.com/office/officeart/2005/8/layout/hierarchy4"/>
    <dgm:cxn modelId="{C78D33DD-E05C-4E89-B4B5-DCE19E3D31EC}" type="presParOf" srcId="{DE608AC5-3103-4527-9C56-EE59A40E0258}" destId="{17BA92BF-D909-4E65-A8A5-1F6CC97AAC80}" srcOrd="48" destOrd="0" presId="urn:microsoft.com/office/officeart/2005/8/layout/hierarchy4"/>
    <dgm:cxn modelId="{3DAC1041-E83F-4844-9AA6-47056C1BA591}" type="presParOf" srcId="{17BA92BF-D909-4E65-A8A5-1F6CC97AAC80}" destId="{0312C5BC-A03D-4651-B2E9-DA6D0FE4A3C1}" srcOrd="0" destOrd="0" presId="urn:microsoft.com/office/officeart/2005/8/layout/hierarchy4"/>
    <dgm:cxn modelId="{D132B7DF-6525-4A55-8F48-1590FA2C508A}" type="presParOf" srcId="{17BA92BF-D909-4E65-A8A5-1F6CC97AAC80}" destId="{4F999636-2402-458E-8DCA-45B7B54D9BD6}" srcOrd="1" destOrd="0" presId="urn:microsoft.com/office/officeart/2005/8/layout/hierarchy4"/>
    <dgm:cxn modelId="{9CD88B49-C25B-447D-A23F-5862631D23E4}" type="presParOf" srcId="{DE608AC5-3103-4527-9C56-EE59A40E0258}" destId="{3CA6BE6A-EC0B-4F41-BC46-55B63D1F1AE1}" srcOrd="49" destOrd="0" presId="urn:microsoft.com/office/officeart/2005/8/layout/hierarchy4"/>
    <dgm:cxn modelId="{E462A94A-CB6E-4E4A-A849-C34D0321A2B1}" type="presParOf" srcId="{DE608AC5-3103-4527-9C56-EE59A40E0258}" destId="{DA34F287-CFE1-4838-A2BC-76523EC5E44C}" srcOrd="50" destOrd="0" presId="urn:microsoft.com/office/officeart/2005/8/layout/hierarchy4"/>
    <dgm:cxn modelId="{C4B69837-1D87-4333-ABC4-C722601326EF}" type="presParOf" srcId="{DA34F287-CFE1-4838-A2BC-76523EC5E44C}" destId="{074B8C88-A226-404A-B889-51399F7D6F0E}" srcOrd="0" destOrd="0" presId="urn:microsoft.com/office/officeart/2005/8/layout/hierarchy4"/>
    <dgm:cxn modelId="{CCDA2DD3-8743-481E-A975-443259086035}" type="presParOf" srcId="{DA34F287-CFE1-4838-A2BC-76523EC5E44C}" destId="{76FD44A1-1429-4852-9809-AAF0501A8090}" srcOrd="1" destOrd="0" presId="urn:microsoft.com/office/officeart/2005/8/layout/hierarchy4"/>
    <dgm:cxn modelId="{476E5D87-66BF-4E2E-B0FA-0DC13F177119}" type="presParOf" srcId="{DE608AC5-3103-4527-9C56-EE59A40E0258}" destId="{8C55BD73-ECAB-4D9A-9F3B-86C03A0F36DB}" srcOrd="51" destOrd="0" presId="urn:microsoft.com/office/officeart/2005/8/layout/hierarchy4"/>
    <dgm:cxn modelId="{6F474F65-477C-4A3C-B0A0-3ACE57FD2745}" type="presParOf" srcId="{DE608AC5-3103-4527-9C56-EE59A40E0258}" destId="{D7C0449D-6852-4C9F-A6EB-B1DB1AD48C2C}" srcOrd="52" destOrd="0" presId="urn:microsoft.com/office/officeart/2005/8/layout/hierarchy4"/>
    <dgm:cxn modelId="{401DD3AB-462B-47A5-9DCF-48CADA2F1D55}" type="presParOf" srcId="{D7C0449D-6852-4C9F-A6EB-B1DB1AD48C2C}" destId="{B7327A70-9E6A-451A-81B9-AE500F196E75}" srcOrd="0" destOrd="0" presId="urn:microsoft.com/office/officeart/2005/8/layout/hierarchy4"/>
    <dgm:cxn modelId="{075FF338-D1FD-462C-834E-7C6D2E7E3DED}" type="presParOf" srcId="{D7C0449D-6852-4C9F-A6EB-B1DB1AD48C2C}" destId="{0298066A-796B-49AD-A90C-10807ADFEE54}" srcOrd="1" destOrd="0" presId="urn:microsoft.com/office/officeart/2005/8/layout/hierarchy4"/>
    <dgm:cxn modelId="{473D7B80-D75C-4D7A-ABB9-2836B27967B0}" type="presParOf" srcId="{DE608AC5-3103-4527-9C56-EE59A40E0258}" destId="{8EA8FF35-07F1-4480-BB8D-9329E7F55794}" srcOrd="53" destOrd="0" presId="urn:microsoft.com/office/officeart/2005/8/layout/hierarchy4"/>
    <dgm:cxn modelId="{9E2125DB-C8CA-432D-AD62-BA3068B22D74}" type="presParOf" srcId="{DE608AC5-3103-4527-9C56-EE59A40E0258}" destId="{60E7A222-8D9B-4CD0-915A-0B55B92611B9}" srcOrd="54" destOrd="0" presId="urn:microsoft.com/office/officeart/2005/8/layout/hierarchy4"/>
    <dgm:cxn modelId="{FDEA0BCD-5861-4D85-B8EA-49AF217779EB}" type="presParOf" srcId="{60E7A222-8D9B-4CD0-915A-0B55B92611B9}" destId="{E3CB98F3-BC66-45DA-AF15-1D22B0730B22}" srcOrd="0" destOrd="0" presId="urn:microsoft.com/office/officeart/2005/8/layout/hierarchy4"/>
    <dgm:cxn modelId="{8820DFBC-4612-42A1-A6E9-A53B810B662E}" type="presParOf" srcId="{60E7A222-8D9B-4CD0-915A-0B55B92611B9}" destId="{C9D395DE-3196-42AE-A47E-E2912E7C6D9A}" srcOrd="1" destOrd="0" presId="urn:microsoft.com/office/officeart/2005/8/layout/hierarchy4"/>
    <dgm:cxn modelId="{F284DFB0-0A8A-4F12-A07D-517EB07B8BEA}" type="presParOf" srcId="{DE608AC5-3103-4527-9C56-EE59A40E0258}" destId="{B044EBAB-1FF5-4ECB-8436-E876D436FA52}" srcOrd="55" destOrd="0" presId="urn:microsoft.com/office/officeart/2005/8/layout/hierarchy4"/>
    <dgm:cxn modelId="{7DAA7D96-8518-4E5D-BEE2-D7953FA63531}" type="presParOf" srcId="{DE608AC5-3103-4527-9C56-EE59A40E0258}" destId="{19CF86EB-F97A-4147-9651-32D4CC31F18A}" srcOrd="56" destOrd="0" presId="urn:microsoft.com/office/officeart/2005/8/layout/hierarchy4"/>
    <dgm:cxn modelId="{25247C65-3C0B-49BE-A14F-ACB58F73E8D7}" type="presParOf" srcId="{19CF86EB-F97A-4147-9651-32D4CC31F18A}" destId="{60A889B8-7D30-4152-9152-F7FCD8D338BC}" srcOrd="0" destOrd="0" presId="urn:microsoft.com/office/officeart/2005/8/layout/hierarchy4"/>
    <dgm:cxn modelId="{D805E887-309D-4C1A-9409-D57AC81E64F8}" type="presParOf" srcId="{19CF86EB-F97A-4147-9651-32D4CC31F18A}" destId="{8A7D7DE3-5D9D-4A74-A81E-7BABD1875E2A}" srcOrd="1" destOrd="0" presId="urn:microsoft.com/office/officeart/2005/8/layout/hierarchy4"/>
    <dgm:cxn modelId="{0279F94A-107A-4F8D-AC79-5E872F224908}" type="presParOf" srcId="{DE608AC5-3103-4527-9C56-EE59A40E0258}" destId="{A97A2005-E9C7-49B5-998F-64DAABE13DFB}" srcOrd="57" destOrd="0" presId="urn:microsoft.com/office/officeart/2005/8/layout/hierarchy4"/>
    <dgm:cxn modelId="{70CE36E6-DDE9-4828-90B5-9862D322B7EE}" type="presParOf" srcId="{DE608AC5-3103-4527-9C56-EE59A40E0258}" destId="{90DB95A4-BD37-4D7C-8925-9173B2ACAD8E}" srcOrd="58" destOrd="0" presId="urn:microsoft.com/office/officeart/2005/8/layout/hierarchy4"/>
    <dgm:cxn modelId="{A784E558-3D38-4843-994A-FC68DEE8A51E}" type="presParOf" srcId="{90DB95A4-BD37-4D7C-8925-9173B2ACAD8E}" destId="{E9898476-B872-4E96-8E6B-4639DC1E1EAF}" srcOrd="0" destOrd="0" presId="urn:microsoft.com/office/officeart/2005/8/layout/hierarchy4"/>
    <dgm:cxn modelId="{01754EE6-EE8F-4284-BEF1-751A55F67C92}" type="presParOf" srcId="{90DB95A4-BD37-4D7C-8925-9173B2ACAD8E}" destId="{047752E6-14F7-4931-A096-D86247B9E8D5}" srcOrd="1" destOrd="0" presId="urn:microsoft.com/office/officeart/2005/8/layout/hierarchy4"/>
    <dgm:cxn modelId="{9E9D5FBC-7479-483E-8612-5E67CCB2BF4F}" type="presParOf" srcId="{DE608AC5-3103-4527-9C56-EE59A40E0258}" destId="{A929B7BE-5CB9-42AF-8FFA-AECD964BA0CF}" srcOrd="59" destOrd="0" presId="urn:microsoft.com/office/officeart/2005/8/layout/hierarchy4"/>
    <dgm:cxn modelId="{32ECFF8D-6155-4EBC-BA52-635E7846E976}" type="presParOf" srcId="{DE608AC5-3103-4527-9C56-EE59A40E0258}" destId="{C845A2D5-4DCF-4027-98F4-E64B65C2D611}" srcOrd="60" destOrd="0" presId="urn:microsoft.com/office/officeart/2005/8/layout/hierarchy4"/>
    <dgm:cxn modelId="{4730E7F0-652B-46EC-971A-DBD5C90857A1}" type="presParOf" srcId="{C845A2D5-4DCF-4027-98F4-E64B65C2D611}" destId="{E91E3A8B-A820-4DED-B5BD-AE0A3542B640}" srcOrd="0" destOrd="0" presId="urn:microsoft.com/office/officeart/2005/8/layout/hierarchy4"/>
    <dgm:cxn modelId="{8C0A58D5-63EE-4596-BB4F-F2C58ED0C462}" type="presParOf" srcId="{C845A2D5-4DCF-4027-98F4-E64B65C2D611}" destId="{2F67A2F3-54B5-4AD9-81FD-B0D10F21152A}" srcOrd="1" destOrd="0" presId="urn:microsoft.com/office/officeart/2005/8/layout/hierarchy4"/>
    <dgm:cxn modelId="{67E65067-2669-4914-8341-62C31F76F53D}" type="presParOf" srcId="{DE608AC5-3103-4527-9C56-EE59A40E0258}" destId="{4AFBD14C-62AE-4D54-8CE6-D62754A65872}" srcOrd="61" destOrd="0" presId="urn:microsoft.com/office/officeart/2005/8/layout/hierarchy4"/>
    <dgm:cxn modelId="{BE298BE4-8BFD-4532-A6EB-029CDB785AE5}" type="presParOf" srcId="{DE608AC5-3103-4527-9C56-EE59A40E0258}" destId="{5538E907-C6A7-4AB2-8AE2-55B54943EEBC}" srcOrd="62" destOrd="0" presId="urn:microsoft.com/office/officeart/2005/8/layout/hierarchy4"/>
    <dgm:cxn modelId="{FD7AEDF7-7AD4-4C10-A482-56E3A87DD1D9}" type="presParOf" srcId="{5538E907-C6A7-4AB2-8AE2-55B54943EEBC}" destId="{87B1145D-0AF4-4271-A5D9-C6D439DE7279}" srcOrd="0" destOrd="0" presId="urn:microsoft.com/office/officeart/2005/8/layout/hierarchy4"/>
    <dgm:cxn modelId="{32C4ED9E-C56A-4ADE-B0E5-D15A286D600E}" type="presParOf" srcId="{5538E907-C6A7-4AB2-8AE2-55B54943EEBC}" destId="{4ECE0B45-E61D-468E-8A8A-8E52EEBE49D3}" srcOrd="1" destOrd="0" presId="urn:microsoft.com/office/officeart/2005/8/layout/hierarchy4"/>
    <dgm:cxn modelId="{A67A5DF1-8DB5-4280-985D-F85777BDEE9B}" type="presParOf" srcId="{458CB0AF-613D-4120-A15A-324830455AF9}" destId="{4B497725-BF26-4B94-BA48-C3AAF7670E08}" srcOrd="5" destOrd="0" presId="urn:microsoft.com/office/officeart/2005/8/layout/hierarchy4"/>
    <dgm:cxn modelId="{A3645E96-CE94-45FE-BD2E-DB276058D704}" type="presParOf" srcId="{458CB0AF-613D-4120-A15A-324830455AF9}" destId="{2592BEEA-7876-41A7-BA91-50089E10FBFB}" srcOrd="6" destOrd="0" presId="urn:microsoft.com/office/officeart/2005/8/layout/hierarchy4"/>
    <dgm:cxn modelId="{D683711D-F7D7-4415-8804-31E472F08429}" type="presParOf" srcId="{2592BEEA-7876-41A7-BA91-50089E10FBFB}" destId="{300CF3CC-CDD8-4957-8CBF-61F332586F7B}" srcOrd="0" destOrd="0" presId="urn:microsoft.com/office/officeart/2005/8/layout/hierarchy4"/>
    <dgm:cxn modelId="{4191913C-85E1-42A6-9288-2ECB0B96AE7C}" type="presParOf" srcId="{2592BEEA-7876-41A7-BA91-50089E10FBFB}" destId="{8DC55C4E-C081-48AD-BF60-75868E60F4E0}" srcOrd="1" destOrd="0" presId="urn:microsoft.com/office/officeart/2005/8/layout/hierarchy4"/>
    <dgm:cxn modelId="{61A46293-2329-4B24-842F-ED26AC0F6D1F}" type="presParOf" srcId="{2592BEEA-7876-41A7-BA91-50089E10FBFB}" destId="{2D2B051D-5538-4265-9C36-1C49A8A37BA1}" srcOrd="2" destOrd="0" presId="urn:microsoft.com/office/officeart/2005/8/layout/hierarchy4"/>
    <dgm:cxn modelId="{E1F1E30D-9B31-4CEA-8C05-8B348BC5CB4E}" type="presParOf" srcId="{2D2B051D-5538-4265-9C36-1C49A8A37BA1}" destId="{274C4DA6-7AE6-4012-81AA-5777CEF7D6FC}" srcOrd="0" destOrd="0" presId="urn:microsoft.com/office/officeart/2005/8/layout/hierarchy4"/>
    <dgm:cxn modelId="{D3993712-C99C-45FB-B08A-AA3F2834E468}" type="presParOf" srcId="{274C4DA6-7AE6-4012-81AA-5777CEF7D6FC}" destId="{D8D2ED38-F748-4289-8E77-4DDF823BBBBC}" srcOrd="0" destOrd="0" presId="urn:microsoft.com/office/officeart/2005/8/layout/hierarchy4"/>
    <dgm:cxn modelId="{40AB76B3-DC47-4C40-9A12-3DF34B24FF8A}" type="presParOf" srcId="{274C4DA6-7AE6-4012-81AA-5777CEF7D6FC}" destId="{7578D610-0AF3-402E-A625-AB9389DCE38B}" srcOrd="1" destOrd="0" presId="urn:microsoft.com/office/officeart/2005/8/layout/hierarchy4"/>
    <dgm:cxn modelId="{C6429512-D016-446B-8B78-707179FDC219}" type="presParOf" srcId="{2D2B051D-5538-4265-9C36-1C49A8A37BA1}" destId="{508F94EE-F00B-42E5-8F8A-AE88FAC3D2AD}" srcOrd="1" destOrd="0" presId="urn:microsoft.com/office/officeart/2005/8/layout/hierarchy4"/>
    <dgm:cxn modelId="{17E7651B-E381-4AA8-BDE2-3F81E6F8B6DC}" type="presParOf" srcId="{2D2B051D-5538-4265-9C36-1C49A8A37BA1}" destId="{4EB26A57-BA46-48C3-A765-BB0CDA7DFCF0}" srcOrd="2" destOrd="0" presId="urn:microsoft.com/office/officeart/2005/8/layout/hierarchy4"/>
    <dgm:cxn modelId="{287450C4-8783-4612-8BE4-FD101FEBAC4B}" type="presParOf" srcId="{4EB26A57-BA46-48C3-A765-BB0CDA7DFCF0}" destId="{5E0FD4F7-1302-4407-AFB8-D56C902F2C36}" srcOrd="0" destOrd="0" presId="urn:microsoft.com/office/officeart/2005/8/layout/hierarchy4"/>
    <dgm:cxn modelId="{0A0B4EE6-8D7A-4C8E-BED4-92E0ED385FBC}" type="presParOf" srcId="{4EB26A57-BA46-48C3-A765-BB0CDA7DFCF0}" destId="{20DF5C21-AABA-48BB-BF70-8F752DD7C1A9}" srcOrd="1" destOrd="0" presId="urn:microsoft.com/office/officeart/2005/8/layout/hierarchy4"/>
    <dgm:cxn modelId="{34406866-4E7B-4C5F-BF0D-5A5F84F92918}" type="presParOf" srcId="{2D2B051D-5538-4265-9C36-1C49A8A37BA1}" destId="{60E8E852-6354-4709-A996-C10521DF5DDB}" srcOrd="3" destOrd="0" presId="urn:microsoft.com/office/officeart/2005/8/layout/hierarchy4"/>
    <dgm:cxn modelId="{8267E55D-33F7-4C68-860D-0DBD3AEE6FC7}" type="presParOf" srcId="{2D2B051D-5538-4265-9C36-1C49A8A37BA1}" destId="{A65534C1-0077-4625-98C1-6F3125DF83C5}" srcOrd="4" destOrd="0" presId="urn:microsoft.com/office/officeart/2005/8/layout/hierarchy4"/>
    <dgm:cxn modelId="{0D441E9B-0469-467D-BA6E-D3CDB0AD28EF}" type="presParOf" srcId="{A65534C1-0077-4625-98C1-6F3125DF83C5}" destId="{EA98DA56-01FE-46F1-BA8C-DEF2B5550464}" srcOrd="0" destOrd="0" presId="urn:microsoft.com/office/officeart/2005/8/layout/hierarchy4"/>
    <dgm:cxn modelId="{DD10E390-00D7-4716-A0C6-DD7C38635CC8}" type="presParOf" srcId="{A65534C1-0077-4625-98C1-6F3125DF83C5}" destId="{B553ADC2-DCCB-4F38-AA8B-6ECCFC222C19}" srcOrd="1" destOrd="0" presId="urn:microsoft.com/office/officeart/2005/8/layout/hierarchy4"/>
    <dgm:cxn modelId="{49921DAE-5510-4E3A-8F3F-8EE73C3FB0B1}" type="presParOf" srcId="{2D2B051D-5538-4265-9C36-1C49A8A37BA1}" destId="{6303E4EA-DBD4-4803-8EDF-933867E1D0DE}" srcOrd="5" destOrd="0" presId="urn:microsoft.com/office/officeart/2005/8/layout/hierarchy4"/>
    <dgm:cxn modelId="{7D161AB7-503C-43A0-B840-2D31D067BA21}" type="presParOf" srcId="{2D2B051D-5538-4265-9C36-1C49A8A37BA1}" destId="{64AEA6FC-AF5B-4821-876F-EC924A5B2696}" srcOrd="6" destOrd="0" presId="urn:microsoft.com/office/officeart/2005/8/layout/hierarchy4"/>
    <dgm:cxn modelId="{1E445CAD-D4D2-4E2A-A583-6C5AC125C37B}" type="presParOf" srcId="{64AEA6FC-AF5B-4821-876F-EC924A5B2696}" destId="{3B9FA98F-AF95-4778-8296-1491745B0820}" srcOrd="0" destOrd="0" presId="urn:microsoft.com/office/officeart/2005/8/layout/hierarchy4"/>
    <dgm:cxn modelId="{8ACA47B8-50E7-4F3D-8910-2B80334ADEC9}" type="presParOf" srcId="{64AEA6FC-AF5B-4821-876F-EC924A5B2696}" destId="{7310845B-BFD9-47B5-9B41-C9F19EC97B23}" srcOrd="1" destOrd="0" presId="urn:microsoft.com/office/officeart/2005/8/layout/hierarchy4"/>
    <dgm:cxn modelId="{E6C42BAF-117F-4F4F-A72A-C3D2B89E5446}" type="presParOf" srcId="{2D2B051D-5538-4265-9C36-1C49A8A37BA1}" destId="{022B2C05-D694-4245-AF22-D0742FF47481}" srcOrd="7" destOrd="0" presId="urn:microsoft.com/office/officeart/2005/8/layout/hierarchy4"/>
    <dgm:cxn modelId="{D1A7C2D8-9950-4A02-8A5B-A27508D22074}" type="presParOf" srcId="{2D2B051D-5538-4265-9C36-1C49A8A37BA1}" destId="{88334A07-E051-431E-85B5-9F39C91F0CED}" srcOrd="8" destOrd="0" presId="urn:microsoft.com/office/officeart/2005/8/layout/hierarchy4"/>
    <dgm:cxn modelId="{4478AE52-84F2-44BA-AA04-630C96E69F71}" type="presParOf" srcId="{88334A07-E051-431E-85B5-9F39C91F0CED}" destId="{1B8731FA-0D0A-4796-AAEF-97EDAD5E2921}" srcOrd="0" destOrd="0" presId="urn:microsoft.com/office/officeart/2005/8/layout/hierarchy4"/>
    <dgm:cxn modelId="{4A8F374D-12F2-4C48-ACF0-B77827DF46C1}" type="presParOf" srcId="{88334A07-E051-431E-85B5-9F39C91F0CED}" destId="{8772DF2B-20BE-40E5-9EF6-A9AD7F6516FD}" srcOrd="1" destOrd="0" presId="urn:microsoft.com/office/officeart/2005/8/layout/hierarchy4"/>
    <dgm:cxn modelId="{932834EE-A80B-430E-AB2D-AE6FEC8ED08F}" type="presParOf" srcId="{2D2B051D-5538-4265-9C36-1C49A8A37BA1}" destId="{CD46AF1D-3BC0-4B1A-B74C-9773204728D3}" srcOrd="9" destOrd="0" presId="urn:microsoft.com/office/officeart/2005/8/layout/hierarchy4"/>
    <dgm:cxn modelId="{2CFCAA68-493E-4532-9F20-92C630D353EB}" type="presParOf" srcId="{2D2B051D-5538-4265-9C36-1C49A8A37BA1}" destId="{186C521B-282E-4EFC-BABF-9B196CA0F9B0}" srcOrd="10" destOrd="0" presId="urn:microsoft.com/office/officeart/2005/8/layout/hierarchy4"/>
    <dgm:cxn modelId="{4D6F5420-CE01-4705-92A0-164D6B63274A}" type="presParOf" srcId="{186C521B-282E-4EFC-BABF-9B196CA0F9B0}" destId="{AE505F8C-57CF-4639-84BE-2661CF2D12D0}" srcOrd="0" destOrd="0" presId="urn:microsoft.com/office/officeart/2005/8/layout/hierarchy4"/>
    <dgm:cxn modelId="{CD4F718D-CACC-4C20-987B-827CEF3EDF81}" type="presParOf" srcId="{186C521B-282E-4EFC-BABF-9B196CA0F9B0}" destId="{D94AA9BF-00D7-485B-AC2F-FF33409D1C85}" srcOrd="1" destOrd="0" presId="urn:microsoft.com/office/officeart/2005/8/layout/hierarchy4"/>
    <dgm:cxn modelId="{2EC2733A-F24F-4FE7-8C11-C13B218E61F4}" type="presParOf" srcId="{2D2B051D-5538-4265-9C36-1C49A8A37BA1}" destId="{1DF63C9B-3E84-46E1-B250-D0FAE16DFDA9}" srcOrd="11" destOrd="0" presId="urn:microsoft.com/office/officeart/2005/8/layout/hierarchy4"/>
    <dgm:cxn modelId="{BE6BA3C3-CC99-4DC9-81DC-81F16643645F}" type="presParOf" srcId="{2D2B051D-5538-4265-9C36-1C49A8A37BA1}" destId="{28CBC5FA-9AAA-418E-B5D6-54512818A0A2}" srcOrd="12" destOrd="0" presId="urn:microsoft.com/office/officeart/2005/8/layout/hierarchy4"/>
    <dgm:cxn modelId="{F2569781-AC55-43B0-8F88-E82D776A9109}" type="presParOf" srcId="{28CBC5FA-9AAA-418E-B5D6-54512818A0A2}" destId="{9EEA6381-5036-433B-8952-E5A592021CA2}" srcOrd="0" destOrd="0" presId="urn:microsoft.com/office/officeart/2005/8/layout/hierarchy4"/>
    <dgm:cxn modelId="{E45E1118-6E50-4017-B2E5-37C4DA5A7713}" type="presParOf" srcId="{28CBC5FA-9AAA-418E-B5D6-54512818A0A2}" destId="{3D212712-56AF-4404-9FD9-D2011C93779E}" srcOrd="1" destOrd="0" presId="urn:microsoft.com/office/officeart/2005/8/layout/hierarchy4"/>
    <dgm:cxn modelId="{9703A19F-7903-45E9-9716-4F761CFB4CC2}" type="presParOf" srcId="{2D2B051D-5538-4265-9C36-1C49A8A37BA1}" destId="{90C5AEF2-63A8-4B87-B224-3EA48A195F16}" srcOrd="13" destOrd="0" presId="urn:microsoft.com/office/officeart/2005/8/layout/hierarchy4"/>
    <dgm:cxn modelId="{1207F1CC-7489-40F5-9FF5-0B3D6A940553}" type="presParOf" srcId="{2D2B051D-5538-4265-9C36-1C49A8A37BA1}" destId="{8BA74BFF-AFE1-4D12-A572-09D13976B623}" srcOrd="14" destOrd="0" presId="urn:microsoft.com/office/officeart/2005/8/layout/hierarchy4"/>
    <dgm:cxn modelId="{B4FF4458-E23E-4AB7-8F26-5528C5B2C312}" type="presParOf" srcId="{8BA74BFF-AFE1-4D12-A572-09D13976B623}" destId="{99E93896-50C5-414F-90C5-CB46261E8052}" srcOrd="0" destOrd="0" presId="urn:microsoft.com/office/officeart/2005/8/layout/hierarchy4"/>
    <dgm:cxn modelId="{5EBBA98F-181B-4418-ADEA-0AF19F46A2EA}" type="presParOf" srcId="{8BA74BFF-AFE1-4D12-A572-09D13976B623}" destId="{C5A1A549-5BB3-4AAE-A510-17A59D980960}" srcOrd="1" destOrd="0" presId="urn:microsoft.com/office/officeart/2005/8/layout/hierarchy4"/>
    <dgm:cxn modelId="{75457348-07F4-4582-AB21-275CB05A0EE1}" type="presParOf" srcId="{2D2B051D-5538-4265-9C36-1C49A8A37BA1}" destId="{526073DC-A7CD-4D55-B5F1-C2F9E7F54FC8}" srcOrd="15" destOrd="0" presId="urn:microsoft.com/office/officeart/2005/8/layout/hierarchy4"/>
    <dgm:cxn modelId="{1F649519-E6D4-4A03-8ADE-9CBB498431E6}" type="presParOf" srcId="{2D2B051D-5538-4265-9C36-1C49A8A37BA1}" destId="{07F697D8-ABF1-42E4-B851-D2C394FD92C5}" srcOrd="16" destOrd="0" presId="urn:microsoft.com/office/officeart/2005/8/layout/hierarchy4"/>
    <dgm:cxn modelId="{24968244-8C46-4C1E-9AA6-1E7BBF18B285}" type="presParOf" srcId="{07F697D8-ABF1-42E4-B851-D2C394FD92C5}" destId="{E9A72AB3-AEC9-40AC-B626-3B45EDD407B3}" srcOrd="0" destOrd="0" presId="urn:microsoft.com/office/officeart/2005/8/layout/hierarchy4"/>
    <dgm:cxn modelId="{66D068E7-D330-45C9-8A67-A8219CCE3DEA}" type="presParOf" srcId="{07F697D8-ABF1-42E4-B851-D2C394FD92C5}" destId="{D6775997-CF62-4789-A4AD-FDE9F38AA5A0}" srcOrd="1" destOrd="0" presId="urn:microsoft.com/office/officeart/2005/8/layout/hierarchy4"/>
    <dgm:cxn modelId="{9B678E26-8687-432C-A51D-B397D889B7FC}" type="presParOf" srcId="{2D2B051D-5538-4265-9C36-1C49A8A37BA1}" destId="{6F751B3D-CA91-4CCE-9D19-045FC504187F}" srcOrd="17" destOrd="0" presId="urn:microsoft.com/office/officeart/2005/8/layout/hierarchy4"/>
    <dgm:cxn modelId="{4A23CEEA-DE41-4DCE-AD7D-554CDE66AD16}" type="presParOf" srcId="{2D2B051D-5538-4265-9C36-1C49A8A37BA1}" destId="{60C0FF80-6F2C-4DA1-931B-C99DDE4816F2}" srcOrd="18" destOrd="0" presId="urn:microsoft.com/office/officeart/2005/8/layout/hierarchy4"/>
    <dgm:cxn modelId="{6EB9BDA6-CAE4-40BC-B48E-11E7E6F1E84D}" type="presParOf" srcId="{60C0FF80-6F2C-4DA1-931B-C99DDE4816F2}" destId="{BC30F1AC-DEE0-424F-B63E-6AFEE0DBE781}" srcOrd="0" destOrd="0" presId="urn:microsoft.com/office/officeart/2005/8/layout/hierarchy4"/>
    <dgm:cxn modelId="{5B8C0683-6974-479A-8DB6-FC31A139F167}" type="presParOf" srcId="{60C0FF80-6F2C-4DA1-931B-C99DDE4816F2}" destId="{A6BE7B4F-47AD-40F9-9624-C1AF49D9CC05}" srcOrd="1" destOrd="0" presId="urn:microsoft.com/office/officeart/2005/8/layout/hierarchy4"/>
    <dgm:cxn modelId="{11DC31CF-1CBB-4913-858E-143B6AE67F11}" type="presParOf" srcId="{2D2B051D-5538-4265-9C36-1C49A8A37BA1}" destId="{85FA48C6-CC9D-4CD7-8867-7F44B93A6475}" srcOrd="19" destOrd="0" presId="urn:microsoft.com/office/officeart/2005/8/layout/hierarchy4"/>
    <dgm:cxn modelId="{6F32D490-EBE8-4997-995E-1D19E4AEF670}" type="presParOf" srcId="{2D2B051D-5538-4265-9C36-1C49A8A37BA1}" destId="{5617D5EE-05AA-4540-B205-4D3574C4C39A}" srcOrd="20" destOrd="0" presId="urn:microsoft.com/office/officeart/2005/8/layout/hierarchy4"/>
    <dgm:cxn modelId="{EABB2D3D-408A-4021-8265-AE9B4EDAFE1F}" type="presParOf" srcId="{5617D5EE-05AA-4540-B205-4D3574C4C39A}" destId="{1E52C614-1246-4A76-95E3-A2B48CD86314}" srcOrd="0" destOrd="0" presId="urn:microsoft.com/office/officeart/2005/8/layout/hierarchy4"/>
    <dgm:cxn modelId="{7479CECB-0CC0-4115-B29C-3FE5036B80CA}" type="presParOf" srcId="{5617D5EE-05AA-4540-B205-4D3574C4C39A}" destId="{47DF7AAD-5944-4074-9ED1-2C378FB18437}" srcOrd="1" destOrd="0" presId="urn:microsoft.com/office/officeart/2005/8/layout/hierarchy4"/>
    <dgm:cxn modelId="{676A8E88-9077-45AD-94F5-C471002A057F}" type="presParOf" srcId="{2D2B051D-5538-4265-9C36-1C49A8A37BA1}" destId="{109422DE-FE30-4553-8E0D-841007B3E602}" srcOrd="21" destOrd="0" presId="urn:microsoft.com/office/officeart/2005/8/layout/hierarchy4"/>
    <dgm:cxn modelId="{A694915C-06CE-4A5F-A06D-5B80DC68A7D0}" type="presParOf" srcId="{2D2B051D-5538-4265-9C36-1C49A8A37BA1}" destId="{FDD9854D-3032-49F0-9A0C-254620920AFD}" srcOrd="22" destOrd="0" presId="urn:microsoft.com/office/officeart/2005/8/layout/hierarchy4"/>
    <dgm:cxn modelId="{8DE63571-1883-417D-A4DD-670F2D33B545}" type="presParOf" srcId="{FDD9854D-3032-49F0-9A0C-254620920AFD}" destId="{9D132697-72A0-4576-A6CD-3FADA3569E4E}" srcOrd="0" destOrd="0" presId="urn:microsoft.com/office/officeart/2005/8/layout/hierarchy4"/>
    <dgm:cxn modelId="{9318A284-1D7D-4AA4-A3E8-94B9F2206CED}" type="presParOf" srcId="{FDD9854D-3032-49F0-9A0C-254620920AFD}" destId="{A4B1AD2E-2386-47C6-A76E-00F47BFBF4BE}" srcOrd="1" destOrd="0" presId="urn:microsoft.com/office/officeart/2005/8/layout/hierarchy4"/>
    <dgm:cxn modelId="{F30ECA03-F3D0-4967-A578-2874FC225676}" type="presParOf" srcId="{458CB0AF-613D-4120-A15A-324830455AF9}" destId="{43E382AF-2C7F-45E6-B7A7-5145D4C1174E}" srcOrd="7" destOrd="0" presId="urn:microsoft.com/office/officeart/2005/8/layout/hierarchy4"/>
    <dgm:cxn modelId="{28691E89-56B2-4920-BD58-24E6C579B310}" type="presParOf" srcId="{458CB0AF-613D-4120-A15A-324830455AF9}" destId="{8AD92B9F-B4FF-4D3E-971D-F94698C81BFC}" srcOrd="8" destOrd="0" presId="urn:microsoft.com/office/officeart/2005/8/layout/hierarchy4"/>
    <dgm:cxn modelId="{02FCC116-23F5-4394-AEED-EF6F9FAA6025}" type="presParOf" srcId="{8AD92B9F-B4FF-4D3E-971D-F94698C81BFC}" destId="{DD170533-D0CE-402B-946C-BC803D35F61B}" srcOrd="0" destOrd="0" presId="urn:microsoft.com/office/officeart/2005/8/layout/hierarchy4"/>
    <dgm:cxn modelId="{28EB342F-29B8-4C68-92AC-DA28F114820A}" type="presParOf" srcId="{8AD92B9F-B4FF-4D3E-971D-F94698C81BFC}" destId="{7DB5A919-5C8D-411B-8684-CB892008E226}" srcOrd="1" destOrd="0" presId="urn:microsoft.com/office/officeart/2005/8/layout/hierarchy4"/>
    <dgm:cxn modelId="{C5024EB4-CD1A-4170-A6A3-BBCF298620D0}" type="presParOf" srcId="{8AD92B9F-B4FF-4D3E-971D-F94698C81BFC}" destId="{4B34EE87-D1E4-402C-B255-AD45163C0F62}" srcOrd="2" destOrd="0" presId="urn:microsoft.com/office/officeart/2005/8/layout/hierarchy4"/>
    <dgm:cxn modelId="{4846C73E-F895-4486-A6E5-4199130AF0D6}" type="presParOf" srcId="{4B34EE87-D1E4-402C-B255-AD45163C0F62}" destId="{C61BAF10-7836-4C2F-892C-96F729F5E171}" srcOrd="0" destOrd="0" presId="urn:microsoft.com/office/officeart/2005/8/layout/hierarchy4"/>
    <dgm:cxn modelId="{CB523CC7-447C-4503-92AF-651E80DEDA61}" type="presParOf" srcId="{C61BAF10-7836-4C2F-892C-96F729F5E171}" destId="{19962120-483D-4E36-A2FD-EC5110E6A6D9}" srcOrd="0" destOrd="0" presId="urn:microsoft.com/office/officeart/2005/8/layout/hierarchy4"/>
    <dgm:cxn modelId="{086ECE8A-8D3C-444E-9E0D-754569621133}" type="presParOf" srcId="{C61BAF10-7836-4C2F-892C-96F729F5E171}" destId="{F5239FC2-CCFF-4BA5-9DD9-CEEC55443C3A}" srcOrd="1" destOrd="0" presId="urn:microsoft.com/office/officeart/2005/8/layout/hierarchy4"/>
    <dgm:cxn modelId="{FEADA0F2-530D-45BF-8BA1-7AD3DA45BEF5}" type="presParOf" srcId="{5D638F10-CB4F-46DF-B3D3-1696F0B7D3D2}" destId="{AC334203-DCAC-4493-8E24-4DD5F9F16FE8}" srcOrd="1" destOrd="0" presId="urn:microsoft.com/office/officeart/2005/8/layout/hierarchy4"/>
    <dgm:cxn modelId="{CC04F900-45A3-4D2C-9E05-19D781166432}" type="presParOf" srcId="{5D638F10-CB4F-46DF-B3D3-1696F0B7D3D2}" destId="{C14826E1-D307-471A-84C9-2E5F2AFE18D6}" srcOrd="2" destOrd="0" presId="urn:microsoft.com/office/officeart/2005/8/layout/hierarchy4"/>
    <dgm:cxn modelId="{A4571D9B-8DE2-477A-987F-43F1C55A9A56}" type="presParOf" srcId="{C14826E1-D307-471A-84C9-2E5F2AFE18D6}" destId="{95D62823-7A03-4916-8E59-B61169A1FBD1}" srcOrd="0" destOrd="0" presId="urn:microsoft.com/office/officeart/2005/8/layout/hierarchy4"/>
    <dgm:cxn modelId="{32ED67E0-7088-4DFD-A2C5-66975DC0B54E}" type="presParOf" srcId="{C14826E1-D307-471A-84C9-2E5F2AFE18D6}" destId="{8EA5D16E-EC19-46A9-B204-451587B5F289}" srcOrd="1" destOrd="0" presId="urn:microsoft.com/office/officeart/2005/8/layout/hierarchy4"/>
    <dgm:cxn modelId="{E70C135D-2E3A-49F8-AE3D-6F0C89A2CA2A}" type="presParOf" srcId="{C14826E1-D307-471A-84C9-2E5F2AFE18D6}" destId="{FAB0A8A3-78CA-43F6-9DD1-3F7F52F1A3C3}" srcOrd="2" destOrd="0" presId="urn:microsoft.com/office/officeart/2005/8/layout/hierarchy4"/>
    <dgm:cxn modelId="{3113CF10-3953-466E-AA09-CA36DC8782E8}" type="presParOf" srcId="{FAB0A8A3-78CA-43F6-9DD1-3F7F52F1A3C3}" destId="{72D6637A-89D4-4AAE-BBD5-A0C1BE160057}" srcOrd="0" destOrd="0" presId="urn:microsoft.com/office/officeart/2005/8/layout/hierarchy4"/>
    <dgm:cxn modelId="{BFB3F161-B898-4AD5-B69D-2693EC967F10}" type="presParOf" srcId="{72D6637A-89D4-4AAE-BBD5-A0C1BE160057}" destId="{A364EF17-8BC8-4609-9DC0-EFA95BC4700C}" srcOrd="0" destOrd="0" presId="urn:microsoft.com/office/officeart/2005/8/layout/hierarchy4"/>
    <dgm:cxn modelId="{971C2DCA-9E7E-4591-9F73-EE2BA8E4CEEE}" type="presParOf" srcId="{72D6637A-89D4-4AAE-BBD5-A0C1BE160057}" destId="{82A226A4-D025-4149-8FF4-ADDF06AA4D1A}" srcOrd="1" destOrd="0" presId="urn:microsoft.com/office/officeart/2005/8/layout/hierarchy4"/>
    <dgm:cxn modelId="{405F2FF9-B517-417E-B653-3A6337099CC1}" type="presParOf" srcId="{72D6637A-89D4-4AAE-BBD5-A0C1BE160057}" destId="{C972F6D4-A638-41CE-A029-EF17285D7E71}" srcOrd="2" destOrd="0" presId="urn:microsoft.com/office/officeart/2005/8/layout/hierarchy4"/>
    <dgm:cxn modelId="{5AEAEE8E-BC19-4E69-9DA7-137D8AEBB726}" type="presParOf" srcId="{C972F6D4-A638-41CE-A029-EF17285D7E71}" destId="{25D2F6B3-990F-4DC3-9615-FB88BF236900}" srcOrd="0" destOrd="0" presId="urn:microsoft.com/office/officeart/2005/8/layout/hierarchy4"/>
    <dgm:cxn modelId="{25DD94ED-FFEA-42E8-9DF7-5934DAF70896}" type="presParOf" srcId="{25D2F6B3-990F-4DC3-9615-FB88BF236900}" destId="{05762FCE-10A1-4AD7-AE14-FD2A404DDF2B}" srcOrd="0" destOrd="0" presId="urn:microsoft.com/office/officeart/2005/8/layout/hierarchy4"/>
    <dgm:cxn modelId="{76CC4C42-7EE8-421C-9DAF-6A9450AFA611}" type="presParOf" srcId="{25D2F6B3-990F-4DC3-9615-FB88BF236900}" destId="{DE67450D-71BB-44EB-BCB6-3AE3F647034B}"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CBBED4E-3A63-4FF9-83DE-50C4614CE03C}" type="doc">
      <dgm:prSet loTypeId="urn:microsoft.com/office/officeart/2005/8/layout/vList5" loCatId="list" qsTypeId="urn:microsoft.com/office/officeart/2005/8/quickstyle/simple1" qsCatId="simple" csTypeId="urn:microsoft.com/office/officeart/2005/8/colors/accent6_2" csCatId="accent6" phldr="1"/>
      <dgm:spPr/>
      <dgm:t>
        <a:bodyPr/>
        <a:lstStyle/>
        <a:p>
          <a:endParaRPr lang="en-US"/>
        </a:p>
      </dgm:t>
    </dgm:pt>
    <dgm:pt modelId="{65B0F781-5901-48D2-B5AF-A50D4E245278}">
      <dgm:prSet phldrT="[Text]"/>
      <dgm:spPr/>
      <dgm:t>
        <a:bodyPr/>
        <a:lstStyle/>
        <a:p>
          <a:r>
            <a:rPr lang="en-US" b="1" dirty="0" smtClean="0"/>
            <a:t>&lt;header&gt;</a:t>
          </a:r>
          <a:endParaRPr lang="en-US" b="1" dirty="0"/>
        </a:p>
      </dgm:t>
    </dgm:pt>
    <dgm:pt modelId="{055DBA01-DE94-45DB-BE6E-B6A21F4B29EF}" type="parTrans" cxnId="{9A187EBF-DCBD-4DEA-ABAB-9D805B28515B}">
      <dgm:prSet/>
      <dgm:spPr/>
      <dgm:t>
        <a:bodyPr/>
        <a:lstStyle/>
        <a:p>
          <a:endParaRPr lang="en-US"/>
        </a:p>
      </dgm:t>
    </dgm:pt>
    <dgm:pt modelId="{9195DC55-FBED-4355-914A-74CAC26C8A7C}" type="sibTrans" cxnId="{9A187EBF-DCBD-4DEA-ABAB-9D805B28515B}">
      <dgm:prSet/>
      <dgm:spPr/>
      <dgm:t>
        <a:bodyPr/>
        <a:lstStyle/>
        <a:p>
          <a:endParaRPr lang="en-US"/>
        </a:p>
      </dgm:t>
    </dgm:pt>
    <dgm:pt modelId="{8F198F1D-DC0F-419F-A904-01AB40D22453}">
      <dgm:prSet/>
      <dgm:spPr/>
      <dgm:t>
        <a:bodyPr/>
        <a:lstStyle/>
        <a:p>
          <a:r>
            <a:rPr lang="en-US" b="1" dirty="0" smtClean="0"/>
            <a:t>&lt;</a:t>
          </a:r>
          <a:r>
            <a:rPr lang="en-US" b="1" dirty="0" err="1" smtClean="0"/>
            <a:t>hgroup</a:t>
          </a:r>
          <a:r>
            <a:rPr lang="en-US" b="1" dirty="0" smtClean="0"/>
            <a:t>&gt;</a:t>
          </a:r>
          <a:endParaRPr lang="en-US" b="1" dirty="0"/>
        </a:p>
      </dgm:t>
    </dgm:pt>
    <dgm:pt modelId="{AB15D944-3348-47D4-99E8-0969FFF564B2}" type="parTrans" cxnId="{903A435B-F107-4F13-90A0-059AD3F7F31D}">
      <dgm:prSet/>
      <dgm:spPr/>
      <dgm:t>
        <a:bodyPr/>
        <a:lstStyle/>
        <a:p>
          <a:endParaRPr lang="en-US"/>
        </a:p>
      </dgm:t>
    </dgm:pt>
    <dgm:pt modelId="{356C7130-1FBE-4422-93F6-3B4CCAC19321}" type="sibTrans" cxnId="{903A435B-F107-4F13-90A0-059AD3F7F31D}">
      <dgm:prSet/>
      <dgm:spPr/>
      <dgm:t>
        <a:bodyPr/>
        <a:lstStyle/>
        <a:p>
          <a:endParaRPr lang="en-US"/>
        </a:p>
      </dgm:t>
    </dgm:pt>
    <dgm:pt modelId="{8FADEF13-B252-4AD4-85A5-F292745EA7EC}">
      <dgm:prSet/>
      <dgm:spPr/>
      <dgm:t>
        <a:bodyPr/>
        <a:lstStyle/>
        <a:p>
          <a:r>
            <a:rPr lang="en-US" b="1" dirty="0" smtClean="0"/>
            <a:t>&lt;</a:t>
          </a:r>
          <a:r>
            <a:rPr lang="en-US" b="1" dirty="0" err="1" smtClean="0"/>
            <a:t>nav</a:t>
          </a:r>
          <a:r>
            <a:rPr lang="en-US" b="1" dirty="0" smtClean="0"/>
            <a:t>&gt;</a:t>
          </a:r>
          <a:endParaRPr lang="en-US" b="1" dirty="0"/>
        </a:p>
      </dgm:t>
    </dgm:pt>
    <dgm:pt modelId="{CAE07FEF-F81F-411C-8ADA-34B64252127D}" type="parTrans" cxnId="{18F1995F-D736-4D28-A408-6EFDE7D101C0}">
      <dgm:prSet/>
      <dgm:spPr/>
      <dgm:t>
        <a:bodyPr/>
        <a:lstStyle/>
        <a:p>
          <a:endParaRPr lang="en-US"/>
        </a:p>
      </dgm:t>
    </dgm:pt>
    <dgm:pt modelId="{FFFFB478-AE2B-4CBD-A923-0513F813C421}" type="sibTrans" cxnId="{18F1995F-D736-4D28-A408-6EFDE7D101C0}">
      <dgm:prSet/>
      <dgm:spPr/>
      <dgm:t>
        <a:bodyPr/>
        <a:lstStyle/>
        <a:p>
          <a:endParaRPr lang="en-US"/>
        </a:p>
      </dgm:t>
    </dgm:pt>
    <dgm:pt modelId="{F933B5F6-2BB3-459D-BF5C-ABEA044367D4}">
      <dgm:prSet/>
      <dgm:spPr/>
      <dgm:t>
        <a:bodyPr/>
        <a:lstStyle/>
        <a:p>
          <a:r>
            <a:rPr lang="en-US" b="1" dirty="0" smtClean="0"/>
            <a:t>&lt;aside&gt;</a:t>
          </a:r>
          <a:endParaRPr lang="en-US" b="1" dirty="0"/>
        </a:p>
      </dgm:t>
    </dgm:pt>
    <dgm:pt modelId="{76CD76D0-4EE3-4977-B578-5B2E42AC3A66}" type="parTrans" cxnId="{9008D2D7-A503-467A-85CA-24942F45D22E}">
      <dgm:prSet/>
      <dgm:spPr/>
      <dgm:t>
        <a:bodyPr/>
        <a:lstStyle/>
        <a:p>
          <a:endParaRPr lang="en-US"/>
        </a:p>
      </dgm:t>
    </dgm:pt>
    <dgm:pt modelId="{24E9BCCB-5B0A-45B5-A194-061B1317FAAE}" type="sibTrans" cxnId="{9008D2D7-A503-467A-85CA-24942F45D22E}">
      <dgm:prSet/>
      <dgm:spPr/>
      <dgm:t>
        <a:bodyPr/>
        <a:lstStyle/>
        <a:p>
          <a:endParaRPr lang="en-US"/>
        </a:p>
      </dgm:t>
    </dgm:pt>
    <dgm:pt modelId="{F456D3D9-C337-4BB0-8A24-47CE1B40BF78}">
      <dgm:prSet/>
      <dgm:spPr/>
      <dgm:t>
        <a:bodyPr/>
        <a:lstStyle/>
        <a:p>
          <a:r>
            <a:rPr lang="en-US" b="1" dirty="0" smtClean="0"/>
            <a:t>&lt;footer&gt;</a:t>
          </a:r>
          <a:endParaRPr lang="en-US" b="1" dirty="0"/>
        </a:p>
      </dgm:t>
    </dgm:pt>
    <dgm:pt modelId="{8FFADC91-3CBE-4BE7-AC4B-606DEC701A16}" type="parTrans" cxnId="{13DBB0DA-DD37-4C8B-AD37-508D94B852DB}">
      <dgm:prSet/>
      <dgm:spPr/>
      <dgm:t>
        <a:bodyPr/>
        <a:lstStyle/>
        <a:p>
          <a:endParaRPr lang="en-US"/>
        </a:p>
      </dgm:t>
    </dgm:pt>
    <dgm:pt modelId="{4D657F5E-80F4-4C1B-BE62-6E9BEB770B85}" type="sibTrans" cxnId="{13DBB0DA-DD37-4C8B-AD37-508D94B852DB}">
      <dgm:prSet/>
      <dgm:spPr/>
      <dgm:t>
        <a:bodyPr/>
        <a:lstStyle/>
        <a:p>
          <a:endParaRPr lang="en-US"/>
        </a:p>
      </dgm:t>
    </dgm:pt>
    <dgm:pt modelId="{6AB5FB87-946E-421D-B1E4-860B8FA36AFC}">
      <dgm:prSet/>
      <dgm:spPr/>
      <dgm:t>
        <a:bodyPr/>
        <a:lstStyle/>
        <a:p>
          <a:r>
            <a:rPr lang="en-US" b="1" dirty="0" smtClean="0"/>
            <a:t>&lt;article&gt;</a:t>
          </a:r>
          <a:endParaRPr lang="en-US" b="1" dirty="0"/>
        </a:p>
      </dgm:t>
    </dgm:pt>
    <dgm:pt modelId="{57AA06B1-AAA5-4386-A44B-C9CAB6664EFF}" type="parTrans" cxnId="{20699FED-7870-4389-984D-42CB6013CC1A}">
      <dgm:prSet/>
      <dgm:spPr/>
      <dgm:t>
        <a:bodyPr/>
        <a:lstStyle/>
        <a:p>
          <a:endParaRPr lang="en-US"/>
        </a:p>
      </dgm:t>
    </dgm:pt>
    <dgm:pt modelId="{705D7F03-802E-4BB2-854D-A119FE0DCA5D}" type="sibTrans" cxnId="{20699FED-7870-4389-984D-42CB6013CC1A}">
      <dgm:prSet/>
      <dgm:spPr/>
      <dgm:t>
        <a:bodyPr/>
        <a:lstStyle/>
        <a:p>
          <a:endParaRPr lang="en-US"/>
        </a:p>
      </dgm:t>
    </dgm:pt>
    <dgm:pt modelId="{2377F463-E7C5-45D7-9A89-2EA988DC0824}">
      <dgm:prSet/>
      <dgm:spPr/>
      <dgm:t>
        <a:bodyPr/>
        <a:lstStyle/>
        <a:p>
          <a:r>
            <a:rPr lang="en-US" b="1" dirty="0" smtClean="0"/>
            <a:t>&lt;section&gt;</a:t>
          </a:r>
          <a:endParaRPr lang="en-US" b="1" dirty="0"/>
        </a:p>
      </dgm:t>
    </dgm:pt>
    <dgm:pt modelId="{FC569B59-3CAB-4F7E-946C-7782B9D65981}" type="parTrans" cxnId="{C0A4300A-B0AF-4FC8-917E-404B840CE40D}">
      <dgm:prSet/>
      <dgm:spPr/>
      <dgm:t>
        <a:bodyPr/>
        <a:lstStyle/>
        <a:p>
          <a:endParaRPr lang="en-US"/>
        </a:p>
      </dgm:t>
    </dgm:pt>
    <dgm:pt modelId="{39CD2F34-82C1-478B-B068-51A383B9D58A}" type="sibTrans" cxnId="{C0A4300A-B0AF-4FC8-917E-404B840CE40D}">
      <dgm:prSet/>
      <dgm:spPr/>
      <dgm:t>
        <a:bodyPr/>
        <a:lstStyle/>
        <a:p>
          <a:endParaRPr lang="en-US"/>
        </a:p>
      </dgm:t>
    </dgm:pt>
    <dgm:pt modelId="{19565C57-D46F-4D0C-A3A6-029FEACB86C0}">
      <dgm:prSet/>
      <dgm:spPr/>
      <dgm:t>
        <a:bodyPr/>
        <a:lstStyle/>
        <a:p>
          <a:r>
            <a:rPr lang="en-US" b="1" dirty="0" smtClean="0"/>
            <a:t>&lt;figure&gt;</a:t>
          </a:r>
          <a:endParaRPr lang="en-US" b="1" dirty="0"/>
        </a:p>
      </dgm:t>
    </dgm:pt>
    <dgm:pt modelId="{E3A1E6D1-3722-462F-A9AA-ABF0609D040A}" type="parTrans" cxnId="{3DE49CDD-3FB4-4E1C-B6F0-4F75B4D1D300}">
      <dgm:prSet/>
      <dgm:spPr/>
      <dgm:t>
        <a:bodyPr/>
        <a:lstStyle/>
        <a:p>
          <a:endParaRPr lang="en-US"/>
        </a:p>
      </dgm:t>
    </dgm:pt>
    <dgm:pt modelId="{8F64F610-5976-4EDD-98EF-D182E46FB290}" type="sibTrans" cxnId="{3DE49CDD-3FB4-4E1C-B6F0-4F75B4D1D300}">
      <dgm:prSet/>
      <dgm:spPr/>
      <dgm:t>
        <a:bodyPr/>
        <a:lstStyle/>
        <a:p>
          <a:endParaRPr lang="en-US"/>
        </a:p>
      </dgm:t>
    </dgm:pt>
    <dgm:pt modelId="{363B11DA-FFEE-4E19-B407-E3A30634F0FE}">
      <dgm:prSet/>
      <dgm:spPr/>
      <dgm:t>
        <a:bodyPr/>
        <a:lstStyle/>
        <a:p>
          <a:r>
            <a:rPr lang="en-US" b="1" dirty="0" smtClean="0"/>
            <a:t>&lt;</a:t>
          </a:r>
          <a:r>
            <a:rPr lang="en-US" b="1" dirty="0" err="1" smtClean="0"/>
            <a:t>figcaption</a:t>
          </a:r>
          <a:r>
            <a:rPr lang="en-US" b="1" dirty="0" smtClean="0"/>
            <a:t>&gt;</a:t>
          </a:r>
          <a:endParaRPr lang="en-US" b="1" dirty="0"/>
        </a:p>
      </dgm:t>
    </dgm:pt>
    <dgm:pt modelId="{95645130-E997-4908-A83C-82739457836C}" type="parTrans" cxnId="{2C0B61BB-007E-4A66-AB59-6DF290DF89DC}">
      <dgm:prSet/>
      <dgm:spPr/>
      <dgm:t>
        <a:bodyPr/>
        <a:lstStyle/>
        <a:p>
          <a:endParaRPr lang="en-US"/>
        </a:p>
      </dgm:t>
    </dgm:pt>
    <dgm:pt modelId="{867C61B0-F677-49A9-B6BB-64D1AC947D9D}" type="sibTrans" cxnId="{2C0B61BB-007E-4A66-AB59-6DF290DF89DC}">
      <dgm:prSet/>
      <dgm:spPr/>
      <dgm:t>
        <a:bodyPr/>
        <a:lstStyle/>
        <a:p>
          <a:endParaRPr lang="en-US"/>
        </a:p>
      </dgm:t>
    </dgm:pt>
    <dgm:pt modelId="{23FDB95A-ABAA-48CC-A442-ECBB1515A1BB}">
      <dgm:prSet phldrT="[Text]"/>
      <dgm:spPr/>
      <dgm:t>
        <a:bodyPr/>
        <a:lstStyle/>
        <a:p>
          <a:r>
            <a:rPr lang="en-US" b="1" dirty="0" smtClean="0"/>
            <a:t>used to identify the page or application's introduction or navigational aids</a:t>
          </a:r>
          <a:endParaRPr lang="en-US" b="1" dirty="0"/>
        </a:p>
      </dgm:t>
    </dgm:pt>
    <dgm:pt modelId="{8EEFC549-944C-4DF3-8663-396749F8B64E}" type="parTrans" cxnId="{9638AB6A-C116-4987-8575-0187763AC302}">
      <dgm:prSet/>
      <dgm:spPr/>
      <dgm:t>
        <a:bodyPr/>
        <a:lstStyle/>
        <a:p>
          <a:endParaRPr lang="en-US"/>
        </a:p>
      </dgm:t>
    </dgm:pt>
    <dgm:pt modelId="{0705CE02-C087-4D08-8362-DFF78987865D}" type="sibTrans" cxnId="{9638AB6A-C116-4987-8575-0187763AC302}">
      <dgm:prSet/>
      <dgm:spPr/>
      <dgm:t>
        <a:bodyPr/>
        <a:lstStyle/>
        <a:p>
          <a:endParaRPr lang="en-US"/>
        </a:p>
      </dgm:t>
    </dgm:pt>
    <dgm:pt modelId="{5CE1DB78-D735-4919-85EB-E322FCDB4457}">
      <dgm:prSet/>
      <dgm:spPr/>
      <dgm:t>
        <a:bodyPr/>
        <a:lstStyle/>
        <a:p>
          <a:r>
            <a:rPr lang="en-US" b="1" dirty="0" smtClean="0"/>
            <a:t>used to group heading elements</a:t>
          </a:r>
          <a:endParaRPr lang="en-US" b="1" dirty="0"/>
        </a:p>
      </dgm:t>
    </dgm:pt>
    <dgm:pt modelId="{8BF1D61F-CB25-40B4-8D8D-A4E890CCE5D2}" type="parTrans" cxnId="{F3598D21-93CE-4B57-AFFF-D7CFE7F21938}">
      <dgm:prSet/>
      <dgm:spPr/>
      <dgm:t>
        <a:bodyPr/>
        <a:lstStyle/>
        <a:p>
          <a:endParaRPr lang="en-US"/>
        </a:p>
      </dgm:t>
    </dgm:pt>
    <dgm:pt modelId="{8B26DD52-DB84-49E6-BB19-048FEE262C17}" type="sibTrans" cxnId="{F3598D21-93CE-4B57-AFFF-D7CFE7F21938}">
      <dgm:prSet/>
      <dgm:spPr/>
      <dgm:t>
        <a:bodyPr/>
        <a:lstStyle/>
        <a:p>
          <a:endParaRPr lang="en-US"/>
        </a:p>
      </dgm:t>
    </dgm:pt>
    <dgm:pt modelId="{D0BCA063-0F02-48A8-A6F0-E3EF2514D5DA}">
      <dgm:prSet/>
      <dgm:spPr/>
      <dgm:t>
        <a:bodyPr/>
        <a:lstStyle/>
        <a:p>
          <a:r>
            <a:rPr lang="en-US" b="1" dirty="0" smtClean="0"/>
            <a:t>represents a section of a document that links to other documents or to parts within the document itself</a:t>
          </a:r>
          <a:endParaRPr lang="en-US" b="1" dirty="0"/>
        </a:p>
      </dgm:t>
    </dgm:pt>
    <dgm:pt modelId="{2F19682F-CC6F-4B21-8379-CEB2EE08AC3B}" type="parTrans" cxnId="{F7378359-9103-4C4D-80DD-CE8D7D5856F0}">
      <dgm:prSet/>
      <dgm:spPr/>
      <dgm:t>
        <a:bodyPr/>
        <a:lstStyle/>
        <a:p>
          <a:endParaRPr lang="en-US"/>
        </a:p>
      </dgm:t>
    </dgm:pt>
    <dgm:pt modelId="{C949C75A-F83D-47B9-B9C4-CCFA38056949}" type="sibTrans" cxnId="{F7378359-9103-4C4D-80DD-CE8D7D5856F0}">
      <dgm:prSet/>
      <dgm:spPr/>
      <dgm:t>
        <a:bodyPr/>
        <a:lstStyle/>
        <a:p>
          <a:endParaRPr lang="en-US"/>
        </a:p>
      </dgm:t>
    </dgm:pt>
    <dgm:pt modelId="{53E14D67-96C9-4BA4-8B4D-211BD1E84F15}">
      <dgm:prSet/>
      <dgm:spPr/>
      <dgm:t>
        <a:bodyPr/>
        <a:lstStyle/>
        <a:p>
          <a:r>
            <a:rPr lang="en-US" b="1" dirty="0" smtClean="0"/>
            <a:t>represents content that is tangentially related to the content that forms the main textual flow of a document</a:t>
          </a:r>
          <a:endParaRPr lang="en-US" b="1" dirty="0"/>
        </a:p>
      </dgm:t>
    </dgm:pt>
    <dgm:pt modelId="{6B74B91A-7407-420E-BE9C-10FBB9F7EE7D}" type="parTrans" cxnId="{87AC65A4-1DD8-45E4-82DA-345B5E955E62}">
      <dgm:prSet/>
      <dgm:spPr/>
      <dgm:t>
        <a:bodyPr/>
        <a:lstStyle/>
        <a:p>
          <a:endParaRPr lang="en-US"/>
        </a:p>
      </dgm:t>
    </dgm:pt>
    <dgm:pt modelId="{E45BB8CC-5752-4DD7-AE9E-61B915BACD14}" type="sibTrans" cxnId="{87AC65A4-1DD8-45E4-82DA-345B5E955E62}">
      <dgm:prSet/>
      <dgm:spPr/>
      <dgm:t>
        <a:bodyPr/>
        <a:lstStyle/>
        <a:p>
          <a:endParaRPr lang="en-US"/>
        </a:p>
      </dgm:t>
    </dgm:pt>
    <dgm:pt modelId="{A85028DC-1A51-433D-8950-31D5AA034773}">
      <dgm:prSet/>
      <dgm:spPr/>
      <dgm:t>
        <a:bodyPr/>
        <a:lstStyle/>
        <a:p>
          <a:r>
            <a:rPr lang="en-US" b="1" dirty="0" smtClean="0"/>
            <a:t>represents the footer for the nearest ancestor sectioning  content or sectioning root element</a:t>
          </a:r>
          <a:endParaRPr lang="en-US" b="1" dirty="0"/>
        </a:p>
      </dgm:t>
    </dgm:pt>
    <dgm:pt modelId="{66A0F6FF-4A8F-4B51-9B8C-21E9420C6F63}" type="parTrans" cxnId="{5DD92D7C-AEC9-4E66-B693-704811F8DCBB}">
      <dgm:prSet/>
      <dgm:spPr/>
      <dgm:t>
        <a:bodyPr/>
        <a:lstStyle/>
        <a:p>
          <a:endParaRPr lang="en-US"/>
        </a:p>
      </dgm:t>
    </dgm:pt>
    <dgm:pt modelId="{CA80A376-0E06-4C07-B915-864E14A2FDF0}" type="sibTrans" cxnId="{5DD92D7C-AEC9-4E66-B693-704811F8DCBB}">
      <dgm:prSet/>
      <dgm:spPr/>
      <dgm:t>
        <a:bodyPr/>
        <a:lstStyle/>
        <a:p>
          <a:endParaRPr lang="en-US"/>
        </a:p>
      </dgm:t>
    </dgm:pt>
    <dgm:pt modelId="{D962FE03-339D-4AAF-88D5-19188DB241A8}">
      <dgm:prSet/>
      <dgm:spPr/>
      <dgm:t>
        <a:bodyPr/>
        <a:lstStyle/>
        <a:p>
          <a:r>
            <a:rPr lang="en-US" b="1" smtClean="0"/>
            <a:t>represents </a:t>
          </a:r>
          <a:r>
            <a:rPr lang="en-US" b="1" dirty="0" smtClean="0"/>
            <a:t>a section of content that forms an independent part of a document or site</a:t>
          </a:r>
          <a:endParaRPr lang="en-US" b="1" dirty="0"/>
        </a:p>
      </dgm:t>
    </dgm:pt>
    <dgm:pt modelId="{6DA3D35B-64F4-4879-BEF7-94EE5ADB63A8}" type="parTrans" cxnId="{57A7B9DD-9098-4BFB-A0F9-BBDC53825CE9}">
      <dgm:prSet/>
      <dgm:spPr/>
      <dgm:t>
        <a:bodyPr/>
        <a:lstStyle/>
        <a:p>
          <a:endParaRPr lang="en-US"/>
        </a:p>
      </dgm:t>
    </dgm:pt>
    <dgm:pt modelId="{5C177146-2141-4284-8A7D-384B95EF8FD1}" type="sibTrans" cxnId="{57A7B9DD-9098-4BFB-A0F9-BBDC53825CE9}">
      <dgm:prSet/>
      <dgm:spPr/>
      <dgm:t>
        <a:bodyPr/>
        <a:lstStyle/>
        <a:p>
          <a:endParaRPr lang="en-US"/>
        </a:p>
      </dgm:t>
    </dgm:pt>
    <dgm:pt modelId="{1A1952F5-03D8-4561-9111-92475B93391E}">
      <dgm:prSet/>
      <dgm:spPr/>
      <dgm:t>
        <a:bodyPr/>
        <a:lstStyle/>
        <a:p>
          <a:r>
            <a:rPr lang="en-US" b="1" dirty="0" smtClean="0"/>
            <a:t>used to designate generic sections of a document</a:t>
          </a:r>
          <a:endParaRPr lang="en-US" b="1" dirty="0"/>
        </a:p>
      </dgm:t>
    </dgm:pt>
    <dgm:pt modelId="{1E9EEBB2-A6A1-4146-82DD-067631AEA940}" type="parTrans" cxnId="{0267B348-CDDB-4D20-8A9E-6C5116974D46}">
      <dgm:prSet/>
      <dgm:spPr/>
      <dgm:t>
        <a:bodyPr/>
        <a:lstStyle/>
        <a:p>
          <a:endParaRPr lang="en-US"/>
        </a:p>
      </dgm:t>
    </dgm:pt>
    <dgm:pt modelId="{35CE18BD-3C58-478D-A76A-233B43AC7527}" type="sibTrans" cxnId="{0267B348-CDDB-4D20-8A9E-6C5116974D46}">
      <dgm:prSet/>
      <dgm:spPr/>
      <dgm:t>
        <a:bodyPr/>
        <a:lstStyle/>
        <a:p>
          <a:endParaRPr lang="en-US"/>
        </a:p>
      </dgm:t>
    </dgm:pt>
    <dgm:pt modelId="{BBDD9D31-6958-4E7D-8C5B-57D29D408C6F}">
      <dgm:prSet/>
      <dgm:spPr/>
      <dgm:t>
        <a:bodyPr/>
        <a:lstStyle/>
        <a:p>
          <a:r>
            <a:rPr lang="en-US" b="1" smtClean="0"/>
            <a:t>used </a:t>
          </a:r>
          <a:r>
            <a:rPr lang="en-US" b="1" dirty="0" smtClean="0"/>
            <a:t>to enclose a figure like an illustration, diagram, or photo</a:t>
          </a:r>
          <a:endParaRPr lang="en-US" b="1" dirty="0"/>
        </a:p>
      </dgm:t>
    </dgm:pt>
    <dgm:pt modelId="{04C61D09-60D8-4CD7-B81C-3D5A74A547CD}" type="parTrans" cxnId="{2554DCFE-C2DE-4BC5-AE3C-B91B538257F8}">
      <dgm:prSet/>
      <dgm:spPr/>
      <dgm:t>
        <a:bodyPr/>
        <a:lstStyle/>
        <a:p>
          <a:endParaRPr lang="en-US"/>
        </a:p>
      </dgm:t>
    </dgm:pt>
    <dgm:pt modelId="{5FC2A67F-4C7D-49BA-8B65-9F6FCCEA1E69}" type="sibTrans" cxnId="{2554DCFE-C2DE-4BC5-AE3C-B91B538257F8}">
      <dgm:prSet/>
      <dgm:spPr/>
      <dgm:t>
        <a:bodyPr/>
        <a:lstStyle/>
        <a:p>
          <a:endParaRPr lang="en-US"/>
        </a:p>
      </dgm:t>
    </dgm:pt>
    <dgm:pt modelId="{37679D85-9576-47E9-BA54-21D17C33CAB5}">
      <dgm:prSet/>
      <dgm:spPr/>
      <dgm:t>
        <a:bodyPr/>
        <a:lstStyle/>
        <a:p>
          <a:r>
            <a:rPr lang="en-US" b="1" dirty="0" smtClean="0"/>
            <a:t>used to identify a figure's caption</a:t>
          </a:r>
          <a:endParaRPr lang="en-US" b="1" dirty="0"/>
        </a:p>
      </dgm:t>
    </dgm:pt>
    <dgm:pt modelId="{54D8C868-1FBC-4C32-AE61-8222E300B91A}" type="parTrans" cxnId="{DF91C35D-5331-475D-9FA8-D547DC415E78}">
      <dgm:prSet/>
      <dgm:spPr/>
      <dgm:t>
        <a:bodyPr/>
        <a:lstStyle/>
        <a:p>
          <a:endParaRPr lang="en-US"/>
        </a:p>
      </dgm:t>
    </dgm:pt>
    <dgm:pt modelId="{38BB4F83-7651-4169-AA9D-F7DDB734780C}" type="sibTrans" cxnId="{DF91C35D-5331-475D-9FA8-D547DC415E78}">
      <dgm:prSet/>
      <dgm:spPr/>
      <dgm:t>
        <a:bodyPr/>
        <a:lstStyle/>
        <a:p>
          <a:endParaRPr lang="en-US"/>
        </a:p>
      </dgm:t>
    </dgm:pt>
    <dgm:pt modelId="{53A49577-42BA-43BB-AA21-63154C9F1FB4}">
      <dgm:prSet/>
      <dgm:spPr/>
      <dgm:t>
        <a:bodyPr/>
        <a:lstStyle/>
        <a:p>
          <a:r>
            <a:rPr lang="en-US" b="1" dirty="0" smtClean="0"/>
            <a:t>&lt;video&gt;</a:t>
          </a:r>
          <a:endParaRPr lang="en-US" b="1" dirty="0"/>
        </a:p>
      </dgm:t>
    </dgm:pt>
    <dgm:pt modelId="{46C5B6BF-5572-4368-BD1B-FAD277B1FE25}" type="parTrans" cxnId="{7AA98104-2AAC-44C5-9808-4796422EA700}">
      <dgm:prSet/>
      <dgm:spPr/>
      <dgm:t>
        <a:bodyPr/>
        <a:lstStyle/>
        <a:p>
          <a:endParaRPr lang="en-US"/>
        </a:p>
      </dgm:t>
    </dgm:pt>
    <dgm:pt modelId="{58C9CA19-6C16-42B8-AEB0-FC4437DF8169}" type="sibTrans" cxnId="{7AA98104-2AAC-44C5-9808-4796422EA700}">
      <dgm:prSet/>
      <dgm:spPr/>
      <dgm:t>
        <a:bodyPr/>
        <a:lstStyle/>
        <a:p>
          <a:endParaRPr lang="en-US"/>
        </a:p>
      </dgm:t>
    </dgm:pt>
    <dgm:pt modelId="{00B385F8-9D36-4F76-ACF9-D365D4E850F1}">
      <dgm:prSet/>
      <dgm:spPr/>
      <dgm:t>
        <a:bodyPr/>
        <a:lstStyle/>
        <a:p>
          <a:r>
            <a:rPr lang="en-US" b="1" dirty="0" smtClean="0"/>
            <a:t>represents a video player displayed to allow user control over video playback and a viewport to view a video</a:t>
          </a:r>
          <a:endParaRPr lang="en-US" b="1" dirty="0"/>
        </a:p>
      </dgm:t>
    </dgm:pt>
    <dgm:pt modelId="{4FA343BF-F3F4-423F-8E15-CB038791266B}" type="parTrans" cxnId="{0E9CC381-ECA9-414E-A40F-28A7480AC9FF}">
      <dgm:prSet/>
      <dgm:spPr/>
      <dgm:t>
        <a:bodyPr/>
        <a:lstStyle/>
        <a:p>
          <a:endParaRPr lang="en-US"/>
        </a:p>
      </dgm:t>
    </dgm:pt>
    <dgm:pt modelId="{1C8BD5D3-B960-4091-8E07-55B96C492CF6}" type="sibTrans" cxnId="{0E9CC381-ECA9-414E-A40F-28A7480AC9FF}">
      <dgm:prSet/>
      <dgm:spPr/>
      <dgm:t>
        <a:bodyPr/>
        <a:lstStyle/>
        <a:p>
          <a:endParaRPr lang="en-US"/>
        </a:p>
      </dgm:t>
    </dgm:pt>
    <dgm:pt modelId="{986F8F70-ED52-42CF-96DD-7C2D40698886}">
      <dgm:prSet/>
      <dgm:spPr/>
      <dgm:t>
        <a:bodyPr/>
        <a:lstStyle/>
        <a:p>
          <a:r>
            <a:rPr lang="en-US" b="1" dirty="0" smtClean="0"/>
            <a:t>&lt;audio&gt;</a:t>
          </a:r>
          <a:endParaRPr lang="en-US" b="1" dirty="0"/>
        </a:p>
      </dgm:t>
    </dgm:pt>
    <dgm:pt modelId="{256D6756-6741-4FB9-A995-DEAFAD70B9D7}" type="parTrans" cxnId="{39612910-FCAE-4555-9757-ACFD3ADAA1EF}">
      <dgm:prSet/>
      <dgm:spPr/>
      <dgm:t>
        <a:bodyPr/>
        <a:lstStyle/>
        <a:p>
          <a:endParaRPr lang="en-US"/>
        </a:p>
      </dgm:t>
    </dgm:pt>
    <dgm:pt modelId="{BF61ACDC-CB9C-4AAE-9019-D4585E7A3B4D}" type="sibTrans" cxnId="{39612910-FCAE-4555-9757-ACFD3ADAA1EF}">
      <dgm:prSet/>
      <dgm:spPr/>
      <dgm:t>
        <a:bodyPr/>
        <a:lstStyle/>
        <a:p>
          <a:endParaRPr lang="en-US"/>
        </a:p>
      </dgm:t>
    </dgm:pt>
    <dgm:pt modelId="{51081A12-9577-43DD-995C-D67A0978A2C7}">
      <dgm:prSet/>
      <dgm:spPr/>
      <dgm:t>
        <a:bodyPr/>
        <a:lstStyle/>
        <a:p>
          <a:r>
            <a:rPr lang="en-US" b="1" dirty="0" smtClean="0"/>
            <a:t>represents an audio player displayed to allow user control over audio playback</a:t>
          </a:r>
          <a:endParaRPr lang="en-US" b="1" dirty="0"/>
        </a:p>
      </dgm:t>
    </dgm:pt>
    <dgm:pt modelId="{BE3C2255-283D-4512-9089-050CAD7D7836}" type="parTrans" cxnId="{29FB5CDE-A14E-46E4-BDCB-FB5775A32DA7}">
      <dgm:prSet/>
      <dgm:spPr/>
      <dgm:t>
        <a:bodyPr/>
        <a:lstStyle/>
        <a:p>
          <a:endParaRPr lang="en-US"/>
        </a:p>
      </dgm:t>
    </dgm:pt>
    <dgm:pt modelId="{4361AF29-3546-4024-A8B7-DDAD533AC286}" type="sibTrans" cxnId="{29FB5CDE-A14E-46E4-BDCB-FB5775A32DA7}">
      <dgm:prSet/>
      <dgm:spPr/>
      <dgm:t>
        <a:bodyPr/>
        <a:lstStyle/>
        <a:p>
          <a:endParaRPr lang="en-US"/>
        </a:p>
      </dgm:t>
    </dgm:pt>
    <dgm:pt modelId="{DE672A79-0B9D-4D53-864C-F327D972C2C2}" type="pres">
      <dgm:prSet presAssocID="{4CBBED4E-3A63-4FF9-83DE-50C4614CE03C}" presName="Name0" presStyleCnt="0">
        <dgm:presLayoutVars>
          <dgm:dir/>
          <dgm:animLvl val="lvl"/>
          <dgm:resizeHandles val="exact"/>
        </dgm:presLayoutVars>
      </dgm:prSet>
      <dgm:spPr/>
      <dgm:t>
        <a:bodyPr/>
        <a:lstStyle/>
        <a:p>
          <a:endParaRPr lang="en-US"/>
        </a:p>
      </dgm:t>
    </dgm:pt>
    <dgm:pt modelId="{6E6FBC06-0E33-4573-951E-7D59ED9986A5}" type="pres">
      <dgm:prSet presAssocID="{65B0F781-5901-48D2-B5AF-A50D4E245278}" presName="linNode" presStyleCnt="0"/>
      <dgm:spPr/>
    </dgm:pt>
    <dgm:pt modelId="{77A5E743-958C-4173-AA2D-0B67877B360F}" type="pres">
      <dgm:prSet presAssocID="{65B0F781-5901-48D2-B5AF-A50D4E245278}" presName="parentText" presStyleLbl="node1" presStyleIdx="0" presStyleCnt="11">
        <dgm:presLayoutVars>
          <dgm:chMax val="1"/>
          <dgm:bulletEnabled val="1"/>
        </dgm:presLayoutVars>
      </dgm:prSet>
      <dgm:spPr/>
      <dgm:t>
        <a:bodyPr/>
        <a:lstStyle/>
        <a:p>
          <a:endParaRPr lang="en-US"/>
        </a:p>
      </dgm:t>
    </dgm:pt>
    <dgm:pt modelId="{E9DB1760-FE79-4E58-94A1-7332DA1DA030}" type="pres">
      <dgm:prSet presAssocID="{65B0F781-5901-48D2-B5AF-A50D4E245278}" presName="descendantText" presStyleLbl="alignAccFollowNode1" presStyleIdx="0" presStyleCnt="11">
        <dgm:presLayoutVars>
          <dgm:bulletEnabled val="1"/>
        </dgm:presLayoutVars>
      </dgm:prSet>
      <dgm:spPr/>
      <dgm:t>
        <a:bodyPr/>
        <a:lstStyle/>
        <a:p>
          <a:endParaRPr lang="en-US"/>
        </a:p>
      </dgm:t>
    </dgm:pt>
    <dgm:pt modelId="{10CC4816-80C6-4C92-96A6-8F87F2C803B2}" type="pres">
      <dgm:prSet presAssocID="{9195DC55-FBED-4355-914A-74CAC26C8A7C}" presName="sp" presStyleCnt="0"/>
      <dgm:spPr/>
    </dgm:pt>
    <dgm:pt modelId="{15854D94-FB69-46B9-AD10-F54C2ABFEC54}" type="pres">
      <dgm:prSet presAssocID="{8F198F1D-DC0F-419F-A904-01AB40D22453}" presName="linNode" presStyleCnt="0"/>
      <dgm:spPr/>
    </dgm:pt>
    <dgm:pt modelId="{A450DEF2-DE7A-46C1-9215-6CC0A093A1CF}" type="pres">
      <dgm:prSet presAssocID="{8F198F1D-DC0F-419F-A904-01AB40D22453}" presName="parentText" presStyleLbl="node1" presStyleIdx="1" presStyleCnt="11">
        <dgm:presLayoutVars>
          <dgm:chMax val="1"/>
          <dgm:bulletEnabled val="1"/>
        </dgm:presLayoutVars>
      </dgm:prSet>
      <dgm:spPr/>
      <dgm:t>
        <a:bodyPr/>
        <a:lstStyle/>
        <a:p>
          <a:endParaRPr lang="en-US"/>
        </a:p>
      </dgm:t>
    </dgm:pt>
    <dgm:pt modelId="{577AAC7C-5D90-4A62-B471-DFA3A16BF3C7}" type="pres">
      <dgm:prSet presAssocID="{8F198F1D-DC0F-419F-A904-01AB40D22453}" presName="descendantText" presStyleLbl="alignAccFollowNode1" presStyleIdx="1" presStyleCnt="11">
        <dgm:presLayoutVars>
          <dgm:bulletEnabled val="1"/>
        </dgm:presLayoutVars>
      </dgm:prSet>
      <dgm:spPr/>
      <dgm:t>
        <a:bodyPr/>
        <a:lstStyle/>
        <a:p>
          <a:endParaRPr lang="en-US"/>
        </a:p>
      </dgm:t>
    </dgm:pt>
    <dgm:pt modelId="{6C7D5348-D0F8-4C71-9209-70CCC5CDBB48}" type="pres">
      <dgm:prSet presAssocID="{356C7130-1FBE-4422-93F6-3B4CCAC19321}" presName="sp" presStyleCnt="0"/>
      <dgm:spPr/>
    </dgm:pt>
    <dgm:pt modelId="{BFB7EAAC-5010-4C34-8A24-44B6EE0CD3D1}" type="pres">
      <dgm:prSet presAssocID="{8FADEF13-B252-4AD4-85A5-F292745EA7EC}" presName="linNode" presStyleCnt="0"/>
      <dgm:spPr/>
    </dgm:pt>
    <dgm:pt modelId="{2EBC16BF-8FCF-4B59-BD74-AE5E96BFD4EA}" type="pres">
      <dgm:prSet presAssocID="{8FADEF13-B252-4AD4-85A5-F292745EA7EC}" presName="parentText" presStyleLbl="node1" presStyleIdx="2" presStyleCnt="11">
        <dgm:presLayoutVars>
          <dgm:chMax val="1"/>
          <dgm:bulletEnabled val="1"/>
        </dgm:presLayoutVars>
      </dgm:prSet>
      <dgm:spPr/>
      <dgm:t>
        <a:bodyPr/>
        <a:lstStyle/>
        <a:p>
          <a:endParaRPr lang="en-US"/>
        </a:p>
      </dgm:t>
    </dgm:pt>
    <dgm:pt modelId="{920676F4-4FBF-4B02-A4C6-7D49D3DEBFD7}" type="pres">
      <dgm:prSet presAssocID="{8FADEF13-B252-4AD4-85A5-F292745EA7EC}" presName="descendantText" presStyleLbl="alignAccFollowNode1" presStyleIdx="2" presStyleCnt="11">
        <dgm:presLayoutVars>
          <dgm:bulletEnabled val="1"/>
        </dgm:presLayoutVars>
      </dgm:prSet>
      <dgm:spPr/>
      <dgm:t>
        <a:bodyPr/>
        <a:lstStyle/>
        <a:p>
          <a:endParaRPr lang="en-US"/>
        </a:p>
      </dgm:t>
    </dgm:pt>
    <dgm:pt modelId="{6666CB21-8C09-4596-8E71-B9CAEB962C0F}" type="pres">
      <dgm:prSet presAssocID="{FFFFB478-AE2B-4CBD-A923-0513F813C421}" presName="sp" presStyleCnt="0"/>
      <dgm:spPr/>
    </dgm:pt>
    <dgm:pt modelId="{AA392F70-C411-4F29-9B62-174713773474}" type="pres">
      <dgm:prSet presAssocID="{F933B5F6-2BB3-459D-BF5C-ABEA044367D4}" presName="linNode" presStyleCnt="0"/>
      <dgm:spPr/>
    </dgm:pt>
    <dgm:pt modelId="{39BA48D9-D502-4375-AB6C-FFF3F35F97FA}" type="pres">
      <dgm:prSet presAssocID="{F933B5F6-2BB3-459D-BF5C-ABEA044367D4}" presName="parentText" presStyleLbl="node1" presStyleIdx="3" presStyleCnt="11">
        <dgm:presLayoutVars>
          <dgm:chMax val="1"/>
          <dgm:bulletEnabled val="1"/>
        </dgm:presLayoutVars>
      </dgm:prSet>
      <dgm:spPr/>
      <dgm:t>
        <a:bodyPr/>
        <a:lstStyle/>
        <a:p>
          <a:endParaRPr lang="en-US"/>
        </a:p>
      </dgm:t>
    </dgm:pt>
    <dgm:pt modelId="{EFC90822-BA14-4EFB-B285-60684108F6DA}" type="pres">
      <dgm:prSet presAssocID="{F933B5F6-2BB3-459D-BF5C-ABEA044367D4}" presName="descendantText" presStyleLbl="alignAccFollowNode1" presStyleIdx="3" presStyleCnt="11">
        <dgm:presLayoutVars>
          <dgm:bulletEnabled val="1"/>
        </dgm:presLayoutVars>
      </dgm:prSet>
      <dgm:spPr/>
      <dgm:t>
        <a:bodyPr/>
        <a:lstStyle/>
        <a:p>
          <a:endParaRPr lang="en-US"/>
        </a:p>
      </dgm:t>
    </dgm:pt>
    <dgm:pt modelId="{211993DB-6F05-4A05-9382-2061AD57DBF4}" type="pres">
      <dgm:prSet presAssocID="{24E9BCCB-5B0A-45B5-A194-061B1317FAAE}" presName="sp" presStyleCnt="0"/>
      <dgm:spPr/>
    </dgm:pt>
    <dgm:pt modelId="{49DE4F78-5373-4BB6-968A-F1BF8579ED31}" type="pres">
      <dgm:prSet presAssocID="{F456D3D9-C337-4BB0-8A24-47CE1B40BF78}" presName="linNode" presStyleCnt="0"/>
      <dgm:spPr/>
    </dgm:pt>
    <dgm:pt modelId="{15B10A13-B4CA-4EBB-9B01-7805DDC6D06C}" type="pres">
      <dgm:prSet presAssocID="{F456D3D9-C337-4BB0-8A24-47CE1B40BF78}" presName="parentText" presStyleLbl="node1" presStyleIdx="4" presStyleCnt="11">
        <dgm:presLayoutVars>
          <dgm:chMax val="1"/>
          <dgm:bulletEnabled val="1"/>
        </dgm:presLayoutVars>
      </dgm:prSet>
      <dgm:spPr/>
      <dgm:t>
        <a:bodyPr/>
        <a:lstStyle/>
        <a:p>
          <a:endParaRPr lang="en-US"/>
        </a:p>
      </dgm:t>
    </dgm:pt>
    <dgm:pt modelId="{D76D672E-13D0-457C-8CF0-FB74A6F31882}" type="pres">
      <dgm:prSet presAssocID="{F456D3D9-C337-4BB0-8A24-47CE1B40BF78}" presName="descendantText" presStyleLbl="alignAccFollowNode1" presStyleIdx="4" presStyleCnt="11">
        <dgm:presLayoutVars>
          <dgm:bulletEnabled val="1"/>
        </dgm:presLayoutVars>
      </dgm:prSet>
      <dgm:spPr/>
      <dgm:t>
        <a:bodyPr/>
        <a:lstStyle/>
        <a:p>
          <a:endParaRPr lang="en-US"/>
        </a:p>
      </dgm:t>
    </dgm:pt>
    <dgm:pt modelId="{62DFCFA7-BD06-4E70-A621-68AC5741A522}" type="pres">
      <dgm:prSet presAssocID="{4D657F5E-80F4-4C1B-BE62-6E9BEB770B85}" presName="sp" presStyleCnt="0"/>
      <dgm:spPr/>
    </dgm:pt>
    <dgm:pt modelId="{FA8E51EE-6C61-4CF3-B34D-EEB104E2AF5F}" type="pres">
      <dgm:prSet presAssocID="{6AB5FB87-946E-421D-B1E4-860B8FA36AFC}" presName="linNode" presStyleCnt="0"/>
      <dgm:spPr/>
    </dgm:pt>
    <dgm:pt modelId="{CB962098-79A3-4711-96CE-1E16E46482A5}" type="pres">
      <dgm:prSet presAssocID="{6AB5FB87-946E-421D-B1E4-860B8FA36AFC}" presName="parentText" presStyleLbl="node1" presStyleIdx="5" presStyleCnt="11">
        <dgm:presLayoutVars>
          <dgm:chMax val="1"/>
          <dgm:bulletEnabled val="1"/>
        </dgm:presLayoutVars>
      </dgm:prSet>
      <dgm:spPr/>
      <dgm:t>
        <a:bodyPr/>
        <a:lstStyle/>
        <a:p>
          <a:endParaRPr lang="en-US"/>
        </a:p>
      </dgm:t>
    </dgm:pt>
    <dgm:pt modelId="{C57B189F-8BA0-4BBC-B12E-350A20BDCACD}" type="pres">
      <dgm:prSet presAssocID="{6AB5FB87-946E-421D-B1E4-860B8FA36AFC}" presName="descendantText" presStyleLbl="alignAccFollowNode1" presStyleIdx="5" presStyleCnt="11">
        <dgm:presLayoutVars>
          <dgm:bulletEnabled val="1"/>
        </dgm:presLayoutVars>
      </dgm:prSet>
      <dgm:spPr/>
      <dgm:t>
        <a:bodyPr/>
        <a:lstStyle/>
        <a:p>
          <a:endParaRPr lang="en-US"/>
        </a:p>
      </dgm:t>
    </dgm:pt>
    <dgm:pt modelId="{DF9F6AA5-AFE7-45D3-9D1C-A2327291A8D1}" type="pres">
      <dgm:prSet presAssocID="{705D7F03-802E-4BB2-854D-A119FE0DCA5D}" presName="sp" presStyleCnt="0"/>
      <dgm:spPr/>
    </dgm:pt>
    <dgm:pt modelId="{28283E4E-6624-4728-93DC-44CBCA705033}" type="pres">
      <dgm:prSet presAssocID="{2377F463-E7C5-45D7-9A89-2EA988DC0824}" presName="linNode" presStyleCnt="0"/>
      <dgm:spPr/>
    </dgm:pt>
    <dgm:pt modelId="{368FD56D-4719-44A8-B68F-276507EF821D}" type="pres">
      <dgm:prSet presAssocID="{2377F463-E7C5-45D7-9A89-2EA988DC0824}" presName="parentText" presStyleLbl="node1" presStyleIdx="6" presStyleCnt="11">
        <dgm:presLayoutVars>
          <dgm:chMax val="1"/>
          <dgm:bulletEnabled val="1"/>
        </dgm:presLayoutVars>
      </dgm:prSet>
      <dgm:spPr/>
      <dgm:t>
        <a:bodyPr/>
        <a:lstStyle/>
        <a:p>
          <a:endParaRPr lang="en-US"/>
        </a:p>
      </dgm:t>
    </dgm:pt>
    <dgm:pt modelId="{85164EA7-0B86-46E1-91AE-9CE0606FB78B}" type="pres">
      <dgm:prSet presAssocID="{2377F463-E7C5-45D7-9A89-2EA988DC0824}" presName="descendantText" presStyleLbl="alignAccFollowNode1" presStyleIdx="6" presStyleCnt="11">
        <dgm:presLayoutVars>
          <dgm:bulletEnabled val="1"/>
        </dgm:presLayoutVars>
      </dgm:prSet>
      <dgm:spPr/>
      <dgm:t>
        <a:bodyPr/>
        <a:lstStyle/>
        <a:p>
          <a:endParaRPr lang="en-US"/>
        </a:p>
      </dgm:t>
    </dgm:pt>
    <dgm:pt modelId="{AF7D1537-7363-4DED-9830-59C85A1930E0}" type="pres">
      <dgm:prSet presAssocID="{39CD2F34-82C1-478B-B068-51A383B9D58A}" presName="sp" presStyleCnt="0"/>
      <dgm:spPr/>
    </dgm:pt>
    <dgm:pt modelId="{8869A495-295A-47F3-B46C-1D4C44633DBF}" type="pres">
      <dgm:prSet presAssocID="{19565C57-D46F-4D0C-A3A6-029FEACB86C0}" presName="linNode" presStyleCnt="0"/>
      <dgm:spPr/>
    </dgm:pt>
    <dgm:pt modelId="{9894B8FF-ADD7-4A6E-B91F-F0DBBFF7394C}" type="pres">
      <dgm:prSet presAssocID="{19565C57-D46F-4D0C-A3A6-029FEACB86C0}" presName="parentText" presStyleLbl="node1" presStyleIdx="7" presStyleCnt="11">
        <dgm:presLayoutVars>
          <dgm:chMax val="1"/>
          <dgm:bulletEnabled val="1"/>
        </dgm:presLayoutVars>
      </dgm:prSet>
      <dgm:spPr/>
      <dgm:t>
        <a:bodyPr/>
        <a:lstStyle/>
        <a:p>
          <a:endParaRPr lang="en-US"/>
        </a:p>
      </dgm:t>
    </dgm:pt>
    <dgm:pt modelId="{FAD9A24D-E383-4F60-8209-C3C60EBA33F4}" type="pres">
      <dgm:prSet presAssocID="{19565C57-D46F-4D0C-A3A6-029FEACB86C0}" presName="descendantText" presStyleLbl="alignAccFollowNode1" presStyleIdx="7" presStyleCnt="11">
        <dgm:presLayoutVars>
          <dgm:bulletEnabled val="1"/>
        </dgm:presLayoutVars>
      </dgm:prSet>
      <dgm:spPr/>
      <dgm:t>
        <a:bodyPr/>
        <a:lstStyle/>
        <a:p>
          <a:endParaRPr lang="en-US"/>
        </a:p>
      </dgm:t>
    </dgm:pt>
    <dgm:pt modelId="{36DE3CC7-F3D5-43A0-BE6C-21590A48111B}" type="pres">
      <dgm:prSet presAssocID="{8F64F610-5976-4EDD-98EF-D182E46FB290}" presName="sp" presStyleCnt="0"/>
      <dgm:spPr/>
    </dgm:pt>
    <dgm:pt modelId="{4D76AE9B-16A2-4075-B2E1-3756B7E0F7D9}" type="pres">
      <dgm:prSet presAssocID="{363B11DA-FFEE-4E19-B407-E3A30634F0FE}" presName="linNode" presStyleCnt="0"/>
      <dgm:spPr/>
    </dgm:pt>
    <dgm:pt modelId="{C4FA6FA6-7169-493D-A1AC-E4E38D967FC4}" type="pres">
      <dgm:prSet presAssocID="{363B11DA-FFEE-4E19-B407-E3A30634F0FE}" presName="parentText" presStyleLbl="node1" presStyleIdx="8" presStyleCnt="11">
        <dgm:presLayoutVars>
          <dgm:chMax val="1"/>
          <dgm:bulletEnabled val="1"/>
        </dgm:presLayoutVars>
      </dgm:prSet>
      <dgm:spPr/>
      <dgm:t>
        <a:bodyPr/>
        <a:lstStyle/>
        <a:p>
          <a:endParaRPr lang="en-US"/>
        </a:p>
      </dgm:t>
    </dgm:pt>
    <dgm:pt modelId="{09636334-A3B7-466C-ABE6-9C891D8F6F41}" type="pres">
      <dgm:prSet presAssocID="{363B11DA-FFEE-4E19-B407-E3A30634F0FE}" presName="descendantText" presStyleLbl="alignAccFollowNode1" presStyleIdx="8" presStyleCnt="11">
        <dgm:presLayoutVars>
          <dgm:bulletEnabled val="1"/>
        </dgm:presLayoutVars>
      </dgm:prSet>
      <dgm:spPr/>
      <dgm:t>
        <a:bodyPr/>
        <a:lstStyle/>
        <a:p>
          <a:endParaRPr lang="en-US"/>
        </a:p>
      </dgm:t>
    </dgm:pt>
    <dgm:pt modelId="{8ED11407-6DCF-4130-A7D1-48B976D95176}" type="pres">
      <dgm:prSet presAssocID="{867C61B0-F677-49A9-B6BB-64D1AC947D9D}" presName="sp" presStyleCnt="0"/>
      <dgm:spPr/>
    </dgm:pt>
    <dgm:pt modelId="{4C119381-AC4C-4041-891C-032F9AAFBFD7}" type="pres">
      <dgm:prSet presAssocID="{53A49577-42BA-43BB-AA21-63154C9F1FB4}" presName="linNode" presStyleCnt="0"/>
      <dgm:spPr/>
    </dgm:pt>
    <dgm:pt modelId="{F012AB81-491C-4A0D-9F4D-A4E0730E2C62}" type="pres">
      <dgm:prSet presAssocID="{53A49577-42BA-43BB-AA21-63154C9F1FB4}" presName="parentText" presStyleLbl="node1" presStyleIdx="9" presStyleCnt="11">
        <dgm:presLayoutVars>
          <dgm:chMax val="1"/>
          <dgm:bulletEnabled val="1"/>
        </dgm:presLayoutVars>
      </dgm:prSet>
      <dgm:spPr/>
      <dgm:t>
        <a:bodyPr/>
        <a:lstStyle/>
        <a:p>
          <a:endParaRPr lang="en-US"/>
        </a:p>
      </dgm:t>
    </dgm:pt>
    <dgm:pt modelId="{547304AA-98FE-4BA6-8591-FEAE1817266A}" type="pres">
      <dgm:prSet presAssocID="{53A49577-42BA-43BB-AA21-63154C9F1FB4}" presName="descendantText" presStyleLbl="alignAccFollowNode1" presStyleIdx="9" presStyleCnt="11">
        <dgm:presLayoutVars>
          <dgm:bulletEnabled val="1"/>
        </dgm:presLayoutVars>
      </dgm:prSet>
      <dgm:spPr/>
      <dgm:t>
        <a:bodyPr/>
        <a:lstStyle/>
        <a:p>
          <a:endParaRPr lang="en-US"/>
        </a:p>
      </dgm:t>
    </dgm:pt>
    <dgm:pt modelId="{42C9C034-6BAA-494A-8E34-2E7D901909AA}" type="pres">
      <dgm:prSet presAssocID="{58C9CA19-6C16-42B8-AEB0-FC4437DF8169}" presName="sp" presStyleCnt="0"/>
      <dgm:spPr/>
    </dgm:pt>
    <dgm:pt modelId="{7A1774C8-3D43-448E-B7A5-1453B4370C96}" type="pres">
      <dgm:prSet presAssocID="{986F8F70-ED52-42CF-96DD-7C2D40698886}" presName="linNode" presStyleCnt="0"/>
      <dgm:spPr/>
    </dgm:pt>
    <dgm:pt modelId="{F40E0709-3F9A-4E56-BAE8-5F6A57125A89}" type="pres">
      <dgm:prSet presAssocID="{986F8F70-ED52-42CF-96DD-7C2D40698886}" presName="parentText" presStyleLbl="node1" presStyleIdx="10" presStyleCnt="11">
        <dgm:presLayoutVars>
          <dgm:chMax val="1"/>
          <dgm:bulletEnabled val="1"/>
        </dgm:presLayoutVars>
      </dgm:prSet>
      <dgm:spPr/>
      <dgm:t>
        <a:bodyPr/>
        <a:lstStyle/>
        <a:p>
          <a:endParaRPr lang="en-US"/>
        </a:p>
      </dgm:t>
    </dgm:pt>
    <dgm:pt modelId="{C0EE4C50-55DF-44A0-8DD0-8BA4BCC58315}" type="pres">
      <dgm:prSet presAssocID="{986F8F70-ED52-42CF-96DD-7C2D40698886}" presName="descendantText" presStyleLbl="alignAccFollowNode1" presStyleIdx="10" presStyleCnt="11">
        <dgm:presLayoutVars>
          <dgm:bulletEnabled val="1"/>
        </dgm:presLayoutVars>
      </dgm:prSet>
      <dgm:spPr/>
      <dgm:t>
        <a:bodyPr/>
        <a:lstStyle/>
        <a:p>
          <a:endParaRPr lang="en-US"/>
        </a:p>
      </dgm:t>
    </dgm:pt>
  </dgm:ptLst>
  <dgm:cxnLst>
    <dgm:cxn modelId="{9638AB6A-C116-4987-8575-0187763AC302}" srcId="{65B0F781-5901-48D2-B5AF-A50D4E245278}" destId="{23FDB95A-ABAA-48CC-A442-ECBB1515A1BB}" srcOrd="0" destOrd="0" parTransId="{8EEFC549-944C-4DF3-8663-396749F8B64E}" sibTransId="{0705CE02-C087-4D08-8362-DFF78987865D}"/>
    <dgm:cxn modelId="{A848C114-8971-4F61-ADC5-EE91CB507682}" type="presOf" srcId="{2377F463-E7C5-45D7-9A89-2EA988DC0824}" destId="{368FD56D-4719-44A8-B68F-276507EF821D}" srcOrd="0" destOrd="0" presId="urn:microsoft.com/office/officeart/2005/8/layout/vList5"/>
    <dgm:cxn modelId="{29FB5CDE-A14E-46E4-BDCB-FB5775A32DA7}" srcId="{986F8F70-ED52-42CF-96DD-7C2D40698886}" destId="{51081A12-9577-43DD-995C-D67A0978A2C7}" srcOrd="0" destOrd="0" parTransId="{BE3C2255-283D-4512-9089-050CAD7D7836}" sibTransId="{4361AF29-3546-4024-A8B7-DDAD533AC286}"/>
    <dgm:cxn modelId="{9891AA24-6487-419C-ADD4-6BE92E8612C9}" type="presOf" srcId="{F456D3D9-C337-4BB0-8A24-47CE1B40BF78}" destId="{15B10A13-B4CA-4EBB-9B01-7805DDC6D06C}" srcOrd="0" destOrd="0" presId="urn:microsoft.com/office/officeart/2005/8/layout/vList5"/>
    <dgm:cxn modelId="{912E0653-00CD-445E-B55C-39D3A43A60A8}" type="presOf" srcId="{51081A12-9577-43DD-995C-D67A0978A2C7}" destId="{C0EE4C50-55DF-44A0-8DD0-8BA4BCC58315}" srcOrd="0" destOrd="0" presId="urn:microsoft.com/office/officeart/2005/8/layout/vList5"/>
    <dgm:cxn modelId="{78021E71-DD27-4C54-954D-7F3939262C97}" type="presOf" srcId="{65B0F781-5901-48D2-B5AF-A50D4E245278}" destId="{77A5E743-958C-4173-AA2D-0B67877B360F}" srcOrd="0" destOrd="0" presId="urn:microsoft.com/office/officeart/2005/8/layout/vList5"/>
    <dgm:cxn modelId="{3DE49CDD-3FB4-4E1C-B6F0-4F75B4D1D300}" srcId="{4CBBED4E-3A63-4FF9-83DE-50C4614CE03C}" destId="{19565C57-D46F-4D0C-A3A6-029FEACB86C0}" srcOrd="7" destOrd="0" parTransId="{E3A1E6D1-3722-462F-A9AA-ABF0609D040A}" sibTransId="{8F64F610-5976-4EDD-98EF-D182E46FB290}"/>
    <dgm:cxn modelId="{536DEE47-E1D9-4ED6-993A-C1BBE8C0A87A}" type="presOf" srcId="{6AB5FB87-946E-421D-B1E4-860B8FA36AFC}" destId="{CB962098-79A3-4711-96CE-1E16E46482A5}" srcOrd="0" destOrd="0" presId="urn:microsoft.com/office/officeart/2005/8/layout/vList5"/>
    <dgm:cxn modelId="{9A187EBF-DCBD-4DEA-ABAB-9D805B28515B}" srcId="{4CBBED4E-3A63-4FF9-83DE-50C4614CE03C}" destId="{65B0F781-5901-48D2-B5AF-A50D4E245278}" srcOrd="0" destOrd="0" parTransId="{055DBA01-DE94-45DB-BE6E-B6A21F4B29EF}" sibTransId="{9195DC55-FBED-4355-914A-74CAC26C8A7C}"/>
    <dgm:cxn modelId="{77D2C6A4-88AC-48BC-9EA4-6FFE60C4A1F8}" type="presOf" srcId="{8FADEF13-B252-4AD4-85A5-F292745EA7EC}" destId="{2EBC16BF-8FCF-4B59-BD74-AE5E96BFD4EA}" srcOrd="0" destOrd="0" presId="urn:microsoft.com/office/officeart/2005/8/layout/vList5"/>
    <dgm:cxn modelId="{EFAE205A-AAF6-4DDD-9ED8-146B21161428}" type="presOf" srcId="{363B11DA-FFEE-4E19-B407-E3A30634F0FE}" destId="{C4FA6FA6-7169-493D-A1AC-E4E38D967FC4}" srcOrd="0" destOrd="0" presId="urn:microsoft.com/office/officeart/2005/8/layout/vList5"/>
    <dgm:cxn modelId="{2C0B61BB-007E-4A66-AB59-6DF290DF89DC}" srcId="{4CBBED4E-3A63-4FF9-83DE-50C4614CE03C}" destId="{363B11DA-FFEE-4E19-B407-E3A30634F0FE}" srcOrd="8" destOrd="0" parTransId="{95645130-E997-4908-A83C-82739457836C}" sibTransId="{867C61B0-F677-49A9-B6BB-64D1AC947D9D}"/>
    <dgm:cxn modelId="{455047E6-1479-44DF-8F22-1803FF190C26}" type="presOf" srcId="{53E14D67-96C9-4BA4-8B4D-211BD1E84F15}" destId="{EFC90822-BA14-4EFB-B285-60684108F6DA}" srcOrd="0" destOrd="0" presId="urn:microsoft.com/office/officeart/2005/8/layout/vList5"/>
    <dgm:cxn modelId="{87AC65A4-1DD8-45E4-82DA-345B5E955E62}" srcId="{F933B5F6-2BB3-459D-BF5C-ABEA044367D4}" destId="{53E14D67-96C9-4BA4-8B4D-211BD1E84F15}" srcOrd="0" destOrd="0" parTransId="{6B74B91A-7407-420E-BE9C-10FBB9F7EE7D}" sibTransId="{E45BB8CC-5752-4DD7-AE9E-61B915BACD14}"/>
    <dgm:cxn modelId="{5306983F-5122-40D7-BBBC-D3ADA65DB8A6}" type="presOf" srcId="{5CE1DB78-D735-4919-85EB-E322FCDB4457}" destId="{577AAC7C-5D90-4A62-B471-DFA3A16BF3C7}" srcOrd="0" destOrd="0" presId="urn:microsoft.com/office/officeart/2005/8/layout/vList5"/>
    <dgm:cxn modelId="{0E9CC381-ECA9-414E-A40F-28A7480AC9FF}" srcId="{53A49577-42BA-43BB-AA21-63154C9F1FB4}" destId="{00B385F8-9D36-4F76-ACF9-D365D4E850F1}" srcOrd="0" destOrd="0" parTransId="{4FA343BF-F3F4-423F-8E15-CB038791266B}" sibTransId="{1C8BD5D3-B960-4091-8E07-55B96C492CF6}"/>
    <dgm:cxn modelId="{5DED5323-1BF5-4801-A979-E411CBFA92E1}" type="presOf" srcId="{986F8F70-ED52-42CF-96DD-7C2D40698886}" destId="{F40E0709-3F9A-4E56-BAE8-5F6A57125A89}" srcOrd="0" destOrd="0" presId="urn:microsoft.com/office/officeart/2005/8/layout/vList5"/>
    <dgm:cxn modelId="{13DBB0DA-DD37-4C8B-AD37-508D94B852DB}" srcId="{4CBBED4E-3A63-4FF9-83DE-50C4614CE03C}" destId="{F456D3D9-C337-4BB0-8A24-47CE1B40BF78}" srcOrd="4" destOrd="0" parTransId="{8FFADC91-3CBE-4BE7-AC4B-606DEC701A16}" sibTransId="{4D657F5E-80F4-4C1B-BE62-6E9BEB770B85}"/>
    <dgm:cxn modelId="{125D6579-9030-4B78-B146-449522AE89E7}" type="presOf" srcId="{19565C57-D46F-4D0C-A3A6-029FEACB86C0}" destId="{9894B8FF-ADD7-4A6E-B91F-F0DBBFF7394C}" srcOrd="0" destOrd="0" presId="urn:microsoft.com/office/officeart/2005/8/layout/vList5"/>
    <dgm:cxn modelId="{CD980739-755A-4CED-BA52-E1EB173DD99A}" type="presOf" srcId="{F933B5F6-2BB3-459D-BF5C-ABEA044367D4}" destId="{39BA48D9-D502-4375-AB6C-FFF3F35F97FA}" srcOrd="0" destOrd="0" presId="urn:microsoft.com/office/officeart/2005/8/layout/vList5"/>
    <dgm:cxn modelId="{F4F0CAEF-7643-4D07-87EA-6D8E68F4C0C3}" type="presOf" srcId="{D962FE03-339D-4AAF-88D5-19188DB241A8}" destId="{C57B189F-8BA0-4BBC-B12E-350A20BDCACD}" srcOrd="0" destOrd="0" presId="urn:microsoft.com/office/officeart/2005/8/layout/vList5"/>
    <dgm:cxn modelId="{5DD92D7C-AEC9-4E66-B693-704811F8DCBB}" srcId="{F456D3D9-C337-4BB0-8A24-47CE1B40BF78}" destId="{A85028DC-1A51-433D-8950-31D5AA034773}" srcOrd="0" destOrd="0" parTransId="{66A0F6FF-4A8F-4B51-9B8C-21E9420C6F63}" sibTransId="{CA80A376-0E06-4C07-B915-864E14A2FDF0}"/>
    <dgm:cxn modelId="{9008D2D7-A503-467A-85CA-24942F45D22E}" srcId="{4CBBED4E-3A63-4FF9-83DE-50C4614CE03C}" destId="{F933B5F6-2BB3-459D-BF5C-ABEA044367D4}" srcOrd="3" destOrd="0" parTransId="{76CD76D0-4EE3-4977-B578-5B2E42AC3A66}" sibTransId="{24E9BCCB-5B0A-45B5-A194-061B1317FAAE}"/>
    <dgm:cxn modelId="{F7378359-9103-4C4D-80DD-CE8D7D5856F0}" srcId="{8FADEF13-B252-4AD4-85A5-F292745EA7EC}" destId="{D0BCA063-0F02-48A8-A6F0-E3EF2514D5DA}" srcOrd="0" destOrd="0" parTransId="{2F19682F-CC6F-4B21-8379-CEB2EE08AC3B}" sibTransId="{C949C75A-F83D-47B9-B9C4-CCFA38056949}"/>
    <dgm:cxn modelId="{903A435B-F107-4F13-90A0-059AD3F7F31D}" srcId="{4CBBED4E-3A63-4FF9-83DE-50C4614CE03C}" destId="{8F198F1D-DC0F-419F-A904-01AB40D22453}" srcOrd="1" destOrd="0" parTransId="{AB15D944-3348-47D4-99E8-0969FFF564B2}" sibTransId="{356C7130-1FBE-4422-93F6-3B4CCAC19321}"/>
    <dgm:cxn modelId="{DF91C35D-5331-475D-9FA8-D547DC415E78}" srcId="{363B11DA-FFEE-4E19-B407-E3A30634F0FE}" destId="{37679D85-9576-47E9-BA54-21D17C33CAB5}" srcOrd="0" destOrd="0" parTransId="{54D8C868-1FBC-4C32-AE61-8222E300B91A}" sibTransId="{38BB4F83-7651-4169-AA9D-F7DDB734780C}"/>
    <dgm:cxn modelId="{C0A4300A-B0AF-4FC8-917E-404B840CE40D}" srcId="{4CBBED4E-3A63-4FF9-83DE-50C4614CE03C}" destId="{2377F463-E7C5-45D7-9A89-2EA988DC0824}" srcOrd="6" destOrd="0" parTransId="{FC569B59-3CAB-4F7E-946C-7782B9D65981}" sibTransId="{39CD2F34-82C1-478B-B068-51A383B9D58A}"/>
    <dgm:cxn modelId="{50EC40CA-4F28-4082-BA48-DDBDE9B78FEC}" type="presOf" srcId="{53A49577-42BA-43BB-AA21-63154C9F1FB4}" destId="{F012AB81-491C-4A0D-9F4D-A4E0730E2C62}" srcOrd="0" destOrd="0" presId="urn:microsoft.com/office/officeart/2005/8/layout/vList5"/>
    <dgm:cxn modelId="{57A7B9DD-9098-4BFB-A0F9-BBDC53825CE9}" srcId="{6AB5FB87-946E-421D-B1E4-860B8FA36AFC}" destId="{D962FE03-339D-4AAF-88D5-19188DB241A8}" srcOrd="0" destOrd="0" parTransId="{6DA3D35B-64F4-4879-BEF7-94EE5ADB63A8}" sibTransId="{5C177146-2141-4284-8A7D-384B95EF8FD1}"/>
    <dgm:cxn modelId="{898B9AF5-0980-4A32-9934-586DFFB42EE9}" type="presOf" srcId="{4CBBED4E-3A63-4FF9-83DE-50C4614CE03C}" destId="{DE672A79-0B9D-4D53-864C-F327D972C2C2}" srcOrd="0" destOrd="0" presId="urn:microsoft.com/office/officeart/2005/8/layout/vList5"/>
    <dgm:cxn modelId="{2554DCFE-C2DE-4BC5-AE3C-B91B538257F8}" srcId="{19565C57-D46F-4D0C-A3A6-029FEACB86C0}" destId="{BBDD9D31-6958-4E7D-8C5B-57D29D408C6F}" srcOrd="0" destOrd="0" parTransId="{04C61D09-60D8-4CD7-B81C-3D5A74A547CD}" sibTransId="{5FC2A67F-4C7D-49BA-8B65-9F6FCCEA1E69}"/>
    <dgm:cxn modelId="{5DABB66A-0AC9-45FD-93EF-E3688E6A73DF}" type="presOf" srcId="{D0BCA063-0F02-48A8-A6F0-E3EF2514D5DA}" destId="{920676F4-4FBF-4B02-A4C6-7D49D3DEBFD7}" srcOrd="0" destOrd="0" presId="urn:microsoft.com/office/officeart/2005/8/layout/vList5"/>
    <dgm:cxn modelId="{C5B637BB-3FD2-453D-BCFF-084688E32F56}" type="presOf" srcId="{23FDB95A-ABAA-48CC-A442-ECBB1515A1BB}" destId="{E9DB1760-FE79-4E58-94A1-7332DA1DA030}" srcOrd="0" destOrd="0" presId="urn:microsoft.com/office/officeart/2005/8/layout/vList5"/>
    <dgm:cxn modelId="{66BEE46D-752B-4C9F-A10E-D87E3E386CFD}" type="presOf" srcId="{1A1952F5-03D8-4561-9111-92475B93391E}" destId="{85164EA7-0B86-46E1-91AE-9CE0606FB78B}" srcOrd="0" destOrd="0" presId="urn:microsoft.com/office/officeart/2005/8/layout/vList5"/>
    <dgm:cxn modelId="{047C3CFB-8520-4113-A41B-901C03FA81D6}" type="presOf" srcId="{37679D85-9576-47E9-BA54-21D17C33CAB5}" destId="{09636334-A3B7-466C-ABE6-9C891D8F6F41}" srcOrd="0" destOrd="0" presId="urn:microsoft.com/office/officeart/2005/8/layout/vList5"/>
    <dgm:cxn modelId="{20699FED-7870-4389-984D-42CB6013CC1A}" srcId="{4CBBED4E-3A63-4FF9-83DE-50C4614CE03C}" destId="{6AB5FB87-946E-421D-B1E4-860B8FA36AFC}" srcOrd="5" destOrd="0" parTransId="{57AA06B1-AAA5-4386-A44B-C9CAB6664EFF}" sibTransId="{705D7F03-802E-4BB2-854D-A119FE0DCA5D}"/>
    <dgm:cxn modelId="{0267B348-CDDB-4D20-8A9E-6C5116974D46}" srcId="{2377F463-E7C5-45D7-9A89-2EA988DC0824}" destId="{1A1952F5-03D8-4561-9111-92475B93391E}" srcOrd="0" destOrd="0" parTransId="{1E9EEBB2-A6A1-4146-82DD-067631AEA940}" sibTransId="{35CE18BD-3C58-478D-A76A-233B43AC7527}"/>
    <dgm:cxn modelId="{39612910-FCAE-4555-9757-ACFD3ADAA1EF}" srcId="{4CBBED4E-3A63-4FF9-83DE-50C4614CE03C}" destId="{986F8F70-ED52-42CF-96DD-7C2D40698886}" srcOrd="10" destOrd="0" parTransId="{256D6756-6741-4FB9-A995-DEAFAD70B9D7}" sibTransId="{BF61ACDC-CB9C-4AAE-9019-D4585E7A3B4D}"/>
    <dgm:cxn modelId="{F3598D21-93CE-4B57-AFFF-D7CFE7F21938}" srcId="{8F198F1D-DC0F-419F-A904-01AB40D22453}" destId="{5CE1DB78-D735-4919-85EB-E322FCDB4457}" srcOrd="0" destOrd="0" parTransId="{8BF1D61F-CB25-40B4-8D8D-A4E890CCE5D2}" sibTransId="{8B26DD52-DB84-49E6-BB19-048FEE262C17}"/>
    <dgm:cxn modelId="{DD0E3239-0B41-4FEB-9141-203F440E3E87}" type="presOf" srcId="{A85028DC-1A51-433D-8950-31D5AA034773}" destId="{D76D672E-13D0-457C-8CF0-FB74A6F31882}" srcOrd="0" destOrd="0" presId="urn:microsoft.com/office/officeart/2005/8/layout/vList5"/>
    <dgm:cxn modelId="{4C24F995-98D5-46FC-964B-F9DF0ED5375B}" type="presOf" srcId="{BBDD9D31-6958-4E7D-8C5B-57D29D408C6F}" destId="{FAD9A24D-E383-4F60-8209-C3C60EBA33F4}" srcOrd="0" destOrd="0" presId="urn:microsoft.com/office/officeart/2005/8/layout/vList5"/>
    <dgm:cxn modelId="{7905DD66-67EC-41EF-B900-BC7AA02060D3}" type="presOf" srcId="{00B385F8-9D36-4F76-ACF9-D365D4E850F1}" destId="{547304AA-98FE-4BA6-8591-FEAE1817266A}" srcOrd="0" destOrd="0" presId="urn:microsoft.com/office/officeart/2005/8/layout/vList5"/>
    <dgm:cxn modelId="{22AA3CBA-979F-4C08-ACC5-0B550AD372A1}" type="presOf" srcId="{8F198F1D-DC0F-419F-A904-01AB40D22453}" destId="{A450DEF2-DE7A-46C1-9215-6CC0A093A1CF}" srcOrd="0" destOrd="0" presId="urn:microsoft.com/office/officeart/2005/8/layout/vList5"/>
    <dgm:cxn modelId="{18F1995F-D736-4D28-A408-6EFDE7D101C0}" srcId="{4CBBED4E-3A63-4FF9-83DE-50C4614CE03C}" destId="{8FADEF13-B252-4AD4-85A5-F292745EA7EC}" srcOrd="2" destOrd="0" parTransId="{CAE07FEF-F81F-411C-8ADA-34B64252127D}" sibTransId="{FFFFB478-AE2B-4CBD-A923-0513F813C421}"/>
    <dgm:cxn modelId="{7AA98104-2AAC-44C5-9808-4796422EA700}" srcId="{4CBBED4E-3A63-4FF9-83DE-50C4614CE03C}" destId="{53A49577-42BA-43BB-AA21-63154C9F1FB4}" srcOrd="9" destOrd="0" parTransId="{46C5B6BF-5572-4368-BD1B-FAD277B1FE25}" sibTransId="{58C9CA19-6C16-42B8-AEB0-FC4437DF8169}"/>
    <dgm:cxn modelId="{8E3FFEBB-EA21-4CB1-B960-A07557BB65F7}" type="presParOf" srcId="{DE672A79-0B9D-4D53-864C-F327D972C2C2}" destId="{6E6FBC06-0E33-4573-951E-7D59ED9986A5}" srcOrd="0" destOrd="0" presId="urn:microsoft.com/office/officeart/2005/8/layout/vList5"/>
    <dgm:cxn modelId="{CD97EC48-0720-46D5-9621-1AF6132007AC}" type="presParOf" srcId="{6E6FBC06-0E33-4573-951E-7D59ED9986A5}" destId="{77A5E743-958C-4173-AA2D-0B67877B360F}" srcOrd="0" destOrd="0" presId="urn:microsoft.com/office/officeart/2005/8/layout/vList5"/>
    <dgm:cxn modelId="{FC6BED3F-EB4F-43BB-97B9-0EE16A71EDD4}" type="presParOf" srcId="{6E6FBC06-0E33-4573-951E-7D59ED9986A5}" destId="{E9DB1760-FE79-4E58-94A1-7332DA1DA030}" srcOrd="1" destOrd="0" presId="urn:microsoft.com/office/officeart/2005/8/layout/vList5"/>
    <dgm:cxn modelId="{EA2175A2-8CEA-4D9C-BD3B-E51063F27D32}" type="presParOf" srcId="{DE672A79-0B9D-4D53-864C-F327D972C2C2}" destId="{10CC4816-80C6-4C92-96A6-8F87F2C803B2}" srcOrd="1" destOrd="0" presId="urn:microsoft.com/office/officeart/2005/8/layout/vList5"/>
    <dgm:cxn modelId="{48081C74-69A4-4C11-B496-874E047C18DE}" type="presParOf" srcId="{DE672A79-0B9D-4D53-864C-F327D972C2C2}" destId="{15854D94-FB69-46B9-AD10-F54C2ABFEC54}" srcOrd="2" destOrd="0" presId="urn:microsoft.com/office/officeart/2005/8/layout/vList5"/>
    <dgm:cxn modelId="{7C0FA1AF-B0CD-4B30-B8FD-6B3F9ABD0263}" type="presParOf" srcId="{15854D94-FB69-46B9-AD10-F54C2ABFEC54}" destId="{A450DEF2-DE7A-46C1-9215-6CC0A093A1CF}" srcOrd="0" destOrd="0" presId="urn:microsoft.com/office/officeart/2005/8/layout/vList5"/>
    <dgm:cxn modelId="{8B0249A6-860C-42AF-91C1-AE099F2B5F86}" type="presParOf" srcId="{15854D94-FB69-46B9-AD10-F54C2ABFEC54}" destId="{577AAC7C-5D90-4A62-B471-DFA3A16BF3C7}" srcOrd="1" destOrd="0" presId="urn:microsoft.com/office/officeart/2005/8/layout/vList5"/>
    <dgm:cxn modelId="{8974D7E6-6111-4A58-91E6-644F4AEA2D98}" type="presParOf" srcId="{DE672A79-0B9D-4D53-864C-F327D972C2C2}" destId="{6C7D5348-D0F8-4C71-9209-70CCC5CDBB48}" srcOrd="3" destOrd="0" presId="urn:microsoft.com/office/officeart/2005/8/layout/vList5"/>
    <dgm:cxn modelId="{EE8DD915-DF1A-413B-A0B2-35BA8CCE66C2}" type="presParOf" srcId="{DE672A79-0B9D-4D53-864C-F327D972C2C2}" destId="{BFB7EAAC-5010-4C34-8A24-44B6EE0CD3D1}" srcOrd="4" destOrd="0" presId="urn:microsoft.com/office/officeart/2005/8/layout/vList5"/>
    <dgm:cxn modelId="{51EC249A-58F2-44BA-9D02-AE0E1E27BBA0}" type="presParOf" srcId="{BFB7EAAC-5010-4C34-8A24-44B6EE0CD3D1}" destId="{2EBC16BF-8FCF-4B59-BD74-AE5E96BFD4EA}" srcOrd="0" destOrd="0" presId="urn:microsoft.com/office/officeart/2005/8/layout/vList5"/>
    <dgm:cxn modelId="{BC42FF6D-3022-4501-AA3E-EFEF2705720F}" type="presParOf" srcId="{BFB7EAAC-5010-4C34-8A24-44B6EE0CD3D1}" destId="{920676F4-4FBF-4B02-A4C6-7D49D3DEBFD7}" srcOrd="1" destOrd="0" presId="urn:microsoft.com/office/officeart/2005/8/layout/vList5"/>
    <dgm:cxn modelId="{8603BF1A-243C-47AF-AF6D-5AB9707EB9B6}" type="presParOf" srcId="{DE672A79-0B9D-4D53-864C-F327D972C2C2}" destId="{6666CB21-8C09-4596-8E71-B9CAEB962C0F}" srcOrd="5" destOrd="0" presId="urn:microsoft.com/office/officeart/2005/8/layout/vList5"/>
    <dgm:cxn modelId="{B56CA757-FC16-46B3-AB38-5B32AD6AE805}" type="presParOf" srcId="{DE672A79-0B9D-4D53-864C-F327D972C2C2}" destId="{AA392F70-C411-4F29-9B62-174713773474}" srcOrd="6" destOrd="0" presId="urn:microsoft.com/office/officeart/2005/8/layout/vList5"/>
    <dgm:cxn modelId="{B85FD055-BAFE-48A2-9362-83E27085E4F2}" type="presParOf" srcId="{AA392F70-C411-4F29-9B62-174713773474}" destId="{39BA48D9-D502-4375-AB6C-FFF3F35F97FA}" srcOrd="0" destOrd="0" presId="urn:microsoft.com/office/officeart/2005/8/layout/vList5"/>
    <dgm:cxn modelId="{B76C9499-B095-41B6-A5B5-7EAB327C55BD}" type="presParOf" srcId="{AA392F70-C411-4F29-9B62-174713773474}" destId="{EFC90822-BA14-4EFB-B285-60684108F6DA}" srcOrd="1" destOrd="0" presId="urn:microsoft.com/office/officeart/2005/8/layout/vList5"/>
    <dgm:cxn modelId="{D4742512-D2D0-4994-833E-A5F3CD3B67EB}" type="presParOf" srcId="{DE672A79-0B9D-4D53-864C-F327D972C2C2}" destId="{211993DB-6F05-4A05-9382-2061AD57DBF4}" srcOrd="7" destOrd="0" presId="urn:microsoft.com/office/officeart/2005/8/layout/vList5"/>
    <dgm:cxn modelId="{BEAE2499-AD07-4FF3-9AA0-4A8435A48463}" type="presParOf" srcId="{DE672A79-0B9D-4D53-864C-F327D972C2C2}" destId="{49DE4F78-5373-4BB6-968A-F1BF8579ED31}" srcOrd="8" destOrd="0" presId="urn:microsoft.com/office/officeart/2005/8/layout/vList5"/>
    <dgm:cxn modelId="{40420DDF-717E-4E59-B2A6-519377645F27}" type="presParOf" srcId="{49DE4F78-5373-4BB6-968A-F1BF8579ED31}" destId="{15B10A13-B4CA-4EBB-9B01-7805DDC6D06C}" srcOrd="0" destOrd="0" presId="urn:microsoft.com/office/officeart/2005/8/layout/vList5"/>
    <dgm:cxn modelId="{3F88DDC8-A3F7-4E67-9DC1-48247979FCAB}" type="presParOf" srcId="{49DE4F78-5373-4BB6-968A-F1BF8579ED31}" destId="{D76D672E-13D0-457C-8CF0-FB74A6F31882}" srcOrd="1" destOrd="0" presId="urn:microsoft.com/office/officeart/2005/8/layout/vList5"/>
    <dgm:cxn modelId="{F9D38F13-9E34-4EF1-B640-F47279AF1387}" type="presParOf" srcId="{DE672A79-0B9D-4D53-864C-F327D972C2C2}" destId="{62DFCFA7-BD06-4E70-A621-68AC5741A522}" srcOrd="9" destOrd="0" presId="urn:microsoft.com/office/officeart/2005/8/layout/vList5"/>
    <dgm:cxn modelId="{63A51322-5307-4815-A0DC-E1C62158CFF7}" type="presParOf" srcId="{DE672A79-0B9D-4D53-864C-F327D972C2C2}" destId="{FA8E51EE-6C61-4CF3-B34D-EEB104E2AF5F}" srcOrd="10" destOrd="0" presId="urn:microsoft.com/office/officeart/2005/8/layout/vList5"/>
    <dgm:cxn modelId="{E1DED3B9-7439-4FF1-A3F3-03DA9083B805}" type="presParOf" srcId="{FA8E51EE-6C61-4CF3-B34D-EEB104E2AF5F}" destId="{CB962098-79A3-4711-96CE-1E16E46482A5}" srcOrd="0" destOrd="0" presId="urn:microsoft.com/office/officeart/2005/8/layout/vList5"/>
    <dgm:cxn modelId="{FCA7A18E-1FB0-40D6-BCBA-122019B5A828}" type="presParOf" srcId="{FA8E51EE-6C61-4CF3-B34D-EEB104E2AF5F}" destId="{C57B189F-8BA0-4BBC-B12E-350A20BDCACD}" srcOrd="1" destOrd="0" presId="urn:microsoft.com/office/officeart/2005/8/layout/vList5"/>
    <dgm:cxn modelId="{5C4590F7-5E42-4741-9933-5B71C16E257C}" type="presParOf" srcId="{DE672A79-0B9D-4D53-864C-F327D972C2C2}" destId="{DF9F6AA5-AFE7-45D3-9D1C-A2327291A8D1}" srcOrd="11" destOrd="0" presId="urn:microsoft.com/office/officeart/2005/8/layout/vList5"/>
    <dgm:cxn modelId="{95766544-A192-4998-A8FA-342ED34609D7}" type="presParOf" srcId="{DE672A79-0B9D-4D53-864C-F327D972C2C2}" destId="{28283E4E-6624-4728-93DC-44CBCA705033}" srcOrd="12" destOrd="0" presId="urn:microsoft.com/office/officeart/2005/8/layout/vList5"/>
    <dgm:cxn modelId="{294E3992-18C6-437D-B336-C42CD9ED6FF0}" type="presParOf" srcId="{28283E4E-6624-4728-93DC-44CBCA705033}" destId="{368FD56D-4719-44A8-B68F-276507EF821D}" srcOrd="0" destOrd="0" presId="urn:microsoft.com/office/officeart/2005/8/layout/vList5"/>
    <dgm:cxn modelId="{47B4B505-14F1-43A2-B585-F2BB39FAB7DD}" type="presParOf" srcId="{28283E4E-6624-4728-93DC-44CBCA705033}" destId="{85164EA7-0B86-46E1-91AE-9CE0606FB78B}" srcOrd="1" destOrd="0" presId="urn:microsoft.com/office/officeart/2005/8/layout/vList5"/>
    <dgm:cxn modelId="{42F11A1F-9396-4E83-99AC-3A62BA23AFFF}" type="presParOf" srcId="{DE672A79-0B9D-4D53-864C-F327D972C2C2}" destId="{AF7D1537-7363-4DED-9830-59C85A1930E0}" srcOrd="13" destOrd="0" presId="urn:microsoft.com/office/officeart/2005/8/layout/vList5"/>
    <dgm:cxn modelId="{DAE0E13A-272C-4D51-ADA4-9B5A620BCDFF}" type="presParOf" srcId="{DE672A79-0B9D-4D53-864C-F327D972C2C2}" destId="{8869A495-295A-47F3-B46C-1D4C44633DBF}" srcOrd="14" destOrd="0" presId="urn:microsoft.com/office/officeart/2005/8/layout/vList5"/>
    <dgm:cxn modelId="{AA718366-F111-4A5D-B0C7-65B1265672BE}" type="presParOf" srcId="{8869A495-295A-47F3-B46C-1D4C44633DBF}" destId="{9894B8FF-ADD7-4A6E-B91F-F0DBBFF7394C}" srcOrd="0" destOrd="0" presId="urn:microsoft.com/office/officeart/2005/8/layout/vList5"/>
    <dgm:cxn modelId="{7C2FB4BB-7AB5-4BF5-ABBF-076195CB9AAE}" type="presParOf" srcId="{8869A495-295A-47F3-B46C-1D4C44633DBF}" destId="{FAD9A24D-E383-4F60-8209-C3C60EBA33F4}" srcOrd="1" destOrd="0" presId="urn:microsoft.com/office/officeart/2005/8/layout/vList5"/>
    <dgm:cxn modelId="{010D8918-BFD2-4437-A31C-D7EE561AEE40}" type="presParOf" srcId="{DE672A79-0B9D-4D53-864C-F327D972C2C2}" destId="{36DE3CC7-F3D5-43A0-BE6C-21590A48111B}" srcOrd="15" destOrd="0" presId="urn:microsoft.com/office/officeart/2005/8/layout/vList5"/>
    <dgm:cxn modelId="{F1B5A09B-F86E-4457-B742-44B5F3D35059}" type="presParOf" srcId="{DE672A79-0B9D-4D53-864C-F327D972C2C2}" destId="{4D76AE9B-16A2-4075-B2E1-3756B7E0F7D9}" srcOrd="16" destOrd="0" presId="urn:microsoft.com/office/officeart/2005/8/layout/vList5"/>
    <dgm:cxn modelId="{9DF8EA44-E23E-4189-A239-9169A0CF50C2}" type="presParOf" srcId="{4D76AE9B-16A2-4075-B2E1-3756B7E0F7D9}" destId="{C4FA6FA6-7169-493D-A1AC-E4E38D967FC4}" srcOrd="0" destOrd="0" presId="urn:microsoft.com/office/officeart/2005/8/layout/vList5"/>
    <dgm:cxn modelId="{6C71CEFE-A8A8-4B0A-AA18-36C75991A9D3}" type="presParOf" srcId="{4D76AE9B-16A2-4075-B2E1-3756B7E0F7D9}" destId="{09636334-A3B7-466C-ABE6-9C891D8F6F41}" srcOrd="1" destOrd="0" presId="urn:microsoft.com/office/officeart/2005/8/layout/vList5"/>
    <dgm:cxn modelId="{57915B39-2CD4-41A9-A928-91551DB18DB5}" type="presParOf" srcId="{DE672A79-0B9D-4D53-864C-F327D972C2C2}" destId="{8ED11407-6DCF-4130-A7D1-48B976D95176}" srcOrd="17" destOrd="0" presId="urn:microsoft.com/office/officeart/2005/8/layout/vList5"/>
    <dgm:cxn modelId="{81186AEA-7D4A-4359-A801-35707E91E3D0}" type="presParOf" srcId="{DE672A79-0B9D-4D53-864C-F327D972C2C2}" destId="{4C119381-AC4C-4041-891C-032F9AAFBFD7}" srcOrd="18" destOrd="0" presId="urn:microsoft.com/office/officeart/2005/8/layout/vList5"/>
    <dgm:cxn modelId="{4048FCCD-9862-4491-B583-850FCEC0DF2F}" type="presParOf" srcId="{4C119381-AC4C-4041-891C-032F9AAFBFD7}" destId="{F012AB81-491C-4A0D-9F4D-A4E0730E2C62}" srcOrd="0" destOrd="0" presId="urn:microsoft.com/office/officeart/2005/8/layout/vList5"/>
    <dgm:cxn modelId="{FDC142D1-FC51-49CF-A0FF-CAA46D220503}" type="presParOf" srcId="{4C119381-AC4C-4041-891C-032F9AAFBFD7}" destId="{547304AA-98FE-4BA6-8591-FEAE1817266A}" srcOrd="1" destOrd="0" presId="urn:microsoft.com/office/officeart/2005/8/layout/vList5"/>
    <dgm:cxn modelId="{34AA564F-C267-4D60-AECA-2A1653416C88}" type="presParOf" srcId="{DE672A79-0B9D-4D53-864C-F327D972C2C2}" destId="{42C9C034-6BAA-494A-8E34-2E7D901909AA}" srcOrd="19" destOrd="0" presId="urn:microsoft.com/office/officeart/2005/8/layout/vList5"/>
    <dgm:cxn modelId="{5C4DE3C7-0BEE-48A3-89FC-D3BA1E054520}" type="presParOf" srcId="{DE672A79-0B9D-4D53-864C-F327D972C2C2}" destId="{7A1774C8-3D43-448E-B7A5-1453B4370C96}" srcOrd="20" destOrd="0" presId="urn:microsoft.com/office/officeart/2005/8/layout/vList5"/>
    <dgm:cxn modelId="{6145A32F-6B50-4D14-AF61-5FBB247AC855}" type="presParOf" srcId="{7A1774C8-3D43-448E-B7A5-1453B4370C96}" destId="{F40E0709-3F9A-4E56-BAE8-5F6A57125A89}" srcOrd="0" destOrd="0" presId="urn:microsoft.com/office/officeart/2005/8/layout/vList5"/>
    <dgm:cxn modelId="{E2471B9F-6E1C-4FB3-A82D-4D0E5C4838E7}" type="presParOf" srcId="{7A1774C8-3D43-448E-B7A5-1453B4370C96}" destId="{C0EE4C50-55DF-44A0-8DD0-8BA4BCC5831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C6EFFF3-C5C8-42D3-A348-CEDA8465EDBC}" type="doc">
      <dgm:prSet loTypeId="urn:microsoft.com/office/officeart/2005/8/layout/cycle6" loCatId="relationship" qsTypeId="urn:microsoft.com/office/officeart/2005/8/quickstyle/simple1" qsCatId="simple" csTypeId="urn:microsoft.com/office/officeart/2005/8/colors/accent6_2" csCatId="accent6" phldr="1"/>
      <dgm:spPr/>
      <dgm:t>
        <a:bodyPr/>
        <a:lstStyle/>
        <a:p>
          <a:endParaRPr lang="en-US"/>
        </a:p>
      </dgm:t>
    </dgm:pt>
    <dgm:pt modelId="{0855BAD5-8217-41F1-9E55-66D5614DA936}">
      <dgm:prSet phldrT="[Text]"/>
      <dgm:spPr/>
      <dgm:t>
        <a:bodyPr/>
        <a:lstStyle/>
        <a:p>
          <a:r>
            <a:rPr lang="en-US" dirty="0" smtClean="0"/>
            <a:t>Basic Shapes</a:t>
          </a:r>
          <a:endParaRPr lang="en-US" dirty="0"/>
        </a:p>
      </dgm:t>
    </dgm:pt>
    <dgm:pt modelId="{00463A86-7FE7-466E-A57D-E5ADB28B7E51}" type="parTrans" cxnId="{7A6A63E4-D320-4579-B855-94DD87675A00}">
      <dgm:prSet/>
      <dgm:spPr/>
      <dgm:t>
        <a:bodyPr/>
        <a:lstStyle/>
        <a:p>
          <a:endParaRPr lang="en-US"/>
        </a:p>
      </dgm:t>
    </dgm:pt>
    <dgm:pt modelId="{4DC96A29-DDD3-4E92-97C3-EF539D855FB4}" type="sibTrans" cxnId="{7A6A63E4-D320-4579-B855-94DD87675A00}">
      <dgm:prSet/>
      <dgm:spPr/>
      <dgm:t>
        <a:bodyPr/>
        <a:lstStyle/>
        <a:p>
          <a:endParaRPr lang="en-US"/>
        </a:p>
      </dgm:t>
    </dgm:pt>
    <dgm:pt modelId="{86FAA3E6-0E80-44C1-9354-7E948FB0617E}">
      <dgm:prSet/>
      <dgm:spPr/>
      <dgm:t>
        <a:bodyPr/>
        <a:lstStyle/>
        <a:p>
          <a:r>
            <a:rPr lang="en-US" dirty="0" smtClean="0"/>
            <a:t>Paths</a:t>
          </a:r>
          <a:endParaRPr lang="en-US" dirty="0"/>
        </a:p>
      </dgm:t>
    </dgm:pt>
    <dgm:pt modelId="{78759DF6-F115-4364-B85D-8C1CA1D41ECD}" type="parTrans" cxnId="{BC7712AF-4237-4A71-B7B6-35101F46F63C}">
      <dgm:prSet/>
      <dgm:spPr/>
      <dgm:t>
        <a:bodyPr/>
        <a:lstStyle/>
        <a:p>
          <a:endParaRPr lang="en-US"/>
        </a:p>
      </dgm:t>
    </dgm:pt>
    <dgm:pt modelId="{509133E3-F5FC-4CCD-A255-EEB9190B6C69}" type="sibTrans" cxnId="{BC7712AF-4237-4A71-B7B6-35101F46F63C}">
      <dgm:prSet/>
      <dgm:spPr/>
      <dgm:t>
        <a:bodyPr/>
        <a:lstStyle/>
        <a:p>
          <a:endParaRPr lang="en-US"/>
        </a:p>
      </dgm:t>
    </dgm:pt>
    <dgm:pt modelId="{B550ED2D-E561-46B2-B5A6-7BA9AEE4EBFC}">
      <dgm:prSet/>
      <dgm:spPr/>
      <dgm:t>
        <a:bodyPr/>
        <a:lstStyle/>
        <a:p>
          <a:r>
            <a:rPr lang="en-US" dirty="0" smtClean="0"/>
            <a:t>Text</a:t>
          </a:r>
          <a:endParaRPr lang="en-US" dirty="0"/>
        </a:p>
      </dgm:t>
    </dgm:pt>
    <dgm:pt modelId="{6810B8DB-858D-4B0D-905A-A40D31140765}" type="parTrans" cxnId="{FC694072-4B36-44AE-98B9-9EF218B6C7BB}">
      <dgm:prSet/>
      <dgm:spPr/>
      <dgm:t>
        <a:bodyPr/>
        <a:lstStyle/>
        <a:p>
          <a:endParaRPr lang="en-US"/>
        </a:p>
      </dgm:t>
    </dgm:pt>
    <dgm:pt modelId="{CE747C7B-2618-4628-994E-F37A32CBF02B}" type="sibTrans" cxnId="{FC694072-4B36-44AE-98B9-9EF218B6C7BB}">
      <dgm:prSet/>
      <dgm:spPr/>
      <dgm:t>
        <a:bodyPr/>
        <a:lstStyle/>
        <a:p>
          <a:endParaRPr lang="en-US"/>
        </a:p>
      </dgm:t>
    </dgm:pt>
    <dgm:pt modelId="{95866115-D3FB-4455-AC21-4EB8491FA886}">
      <dgm:prSet/>
      <dgm:spPr/>
      <dgm:t>
        <a:bodyPr/>
        <a:lstStyle/>
        <a:p>
          <a:r>
            <a:rPr lang="en-US" dirty="0" smtClean="0"/>
            <a:t>Transforms</a:t>
          </a:r>
          <a:endParaRPr lang="en-US" dirty="0"/>
        </a:p>
      </dgm:t>
    </dgm:pt>
    <dgm:pt modelId="{846EA845-5F77-48F5-B4F7-E7CE327638C1}" type="parTrans" cxnId="{DE82EABF-D4CF-4156-9386-830DAF862E19}">
      <dgm:prSet/>
      <dgm:spPr/>
      <dgm:t>
        <a:bodyPr/>
        <a:lstStyle/>
        <a:p>
          <a:endParaRPr lang="en-US"/>
        </a:p>
      </dgm:t>
    </dgm:pt>
    <dgm:pt modelId="{756E5285-C7DF-472B-9F4F-CAF5DBFB8A51}" type="sibTrans" cxnId="{DE82EABF-D4CF-4156-9386-830DAF862E19}">
      <dgm:prSet/>
      <dgm:spPr/>
      <dgm:t>
        <a:bodyPr/>
        <a:lstStyle/>
        <a:p>
          <a:endParaRPr lang="en-US"/>
        </a:p>
      </dgm:t>
    </dgm:pt>
    <dgm:pt modelId="{4069DFDE-2277-40E8-8659-F5B837F8A925}">
      <dgm:prSet/>
      <dgm:spPr/>
      <dgm:t>
        <a:bodyPr/>
        <a:lstStyle/>
        <a:p>
          <a:r>
            <a:rPr lang="en-US" dirty="0" smtClean="0"/>
            <a:t>Painting, Filling, Color</a:t>
          </a:r>
          <a:endParaRPr lang="en-US" dirty="0"/>
        </a:p>
      </dgm:t>
    </dgm:pt>
    <dgm:pt modelId="{80B6BA5E-B7F7-43EC-AB83-7184101B6F17}" type="parTrans" cxnId="{4A97A7F0-0595-4291-AE89-8C92C67B47AA}">
      <dgm:prSet/>
      <dgm:spPr/>
      <dgm:t>
        <a:bodyPr/>
        <a:lstStyle/>
        <a:p>
          <a:endParaRPr lang="en-US"/>
        </a:p>
      </dgm:t>
    </dgm:pt>
    <dgm:pt modelId="{B0F55B93-DB86-4DFE-9762-E9CBA25B9018}" type="sibTrans" cxnId="{4A97A7F0-0595-4291-AE89-8C92C67B47AA}">
      <dgm:prSet/>
      <dgm:spPr/>
      <dgm:t>
        <a:bodyPr/>
        <a:lstStyle/>
        <a:p>
          <a:endParaRPr lang="en-US"/>
        </a:p>
      </dgm:t>
    </dgm:pt>
    <dgm:pt modelId="{ED4BB26C-4BC6-4073-94D7-06111E823E84}">
      <dgm:prSet/>
      <dgm:spPr/>
      <dgm:t>
        <a:bodyPr/>
        <a:lstStyle/>
        <a:p>
          <a:r>
            <a:rPr lang="en-US" dirty="0" smtClean="0"/>
            <a:t>Scripting</a:t>
          </a:r>
          <a:endParaRPr lang="en-US" dirty="0"/>
        </a:p>
      </dgm:t>
    </dgm:pt>
    <dgm:pt modelId="{90F3B179-F527-4A3A-ADC9-9478106854F5}" type="parTrans" cxnId="{EB84AE69-9946-4873-9836-E0461C0BD816}">
      <dgm:prSet/>
      <dgm:spPr/>
      <dgm:t>
        <a:bodyPr/>
        <a:lstStyle/>
        <a:p>
          <a:endParaRPr lang="en-US"/>
        </a:p>
      </dgm:t>
    </dgm:pt>
    <dgm:pt modelId="{FB13037C-7934-4A97-A576-E59E3CDD0F87}" type="sibTrans" cxnId="{EB84AE69-9946-4873-9836-E0461C0BD816}">
      <dgm:prSet/>
      <dgm:spPr/>
      <dgm:t>
        <a:bodyPr/>
        <a:lstStyle/>
        <a:p>
          <a:endParaRPr lang="en-US"/>
        </a:p>
      </dgm:t>
    </dgm:pt>
    <dgm:pt modelId="{68D7A74B-031C-4F74-8893-B707B5F6CDCD}">
      <dgm:prSet/>
      <dgm:spPr/>
      <dgm:t>
        <a:bodyPr/>
        <a:lstStyle/>
        <a:p>
          <a:r>
            <a:rPr lang="en-US" dirty="0" smtClean="0"/>
            <a:t>Styling </a:t>
          </a:r>
          <a:endParaRPr lang="en-US" dirty="0"/>
        </a:p>
      </dgm:t>
    </dgm:pt>
    <dgm:pt modelId="{663CDB80-9B6B-4D1F-BDA7-EF89A2B18929}" type="parTrans" cxnId="{79F8A204-E5EC-4F36-85A8-9FF13434047B}">
      <dgm:prSet/>
      <dgm:spPr/>
      <dgm:t>
        <a:bodyPr/>
        <a:lstStyle/>
        <a:p>
          <a:endParaRPr lang="en-US"/>
        </a:p>
      </dgm:t>
    </dgm:pt>
    <dgm:pt modelId="{9FAC15D6-EC01-4AC7-A264-78AE40135439}" type="sibTrans" cxnId="{79F8A204-E5EC-4F36-85A8-9FF13434047B}">
      <dgm:prSet/>
      <dgm:spPr/>
      <dgm:t>
        <a:bodyPr/>
        <a:lstStyle/>
        <a:p>
          <a:endParaRPr lang="en-US"/>
        </a:p>
      </dgm:t>
    </dgm:pt>
    <dgm:pt modelId="{C92DB722-1A18-467A-9CF1-1D1CEDA7EFCA}">
      <dgm:prSet/>
      <dgm:spPr/>
      <dgm:t>
        <a:bodyPr/>
        <a:lstStyle/>
        <a:p>
          <a:r>
            <a:rPr lang="en-US" dirty="0" smtClean="0"/>
            <a:t>Gradients, Patterns</a:t>
          </a:r>
          <a:endParaRPr lang="en-US" dirty="0"/>
        </a:p>
      </dgm:t>
    </dgm:pt>
    <dgm:pt modelId="{86EC55CC-0B91-4FBF-9764-CF8DA60D6E91}" type="parTrans" cxnId="{FB954110-B0BB-4454-BBD8-A5E6A9F2A3C8}">
      <dgm:prSet/>
      <dgm:spPr/>
      <dgm:t>
        <a:bodyPr/>
        <a:lstStyle/>
        <a:p>
          <a:endParaRPr lang="en-US"/>
        </a:p>
      </dgm:t>
    </dgm:pt>
    <dgm:pt modelId="{BB98C28A-EAE0-431C-A1FD-1637254F026E}" type="sibTrans" cxnId="{FB954110-B0BB-4454-BBD8-A5E6A9F2A3C8}">
      <dgm:prSet/>
      <dgm:spPr/>
      <dgm:t>
        <a:bodyPr/>
        <a:lstStyle/>
        <a:p>
          <a:endParaRPr lang="en-US"/>
        </a:p>
      </dgm:t>
    </dgm:pt>
    <dgm:pt modelId="{C316AD26-1268-4916-BD59-7EB4BBC7F559}" type="pres">
      <dgm:prSet presAssocID="{5C6EFFF3-C5C8-42D3-A348-CEDA8465EDBC}" presName="cycle" presStyleCnt="0">
        <dgm:presLayoutVars>
          <dgm:dir/>
          <dgm:resizeHandles val="exact"/>
        </dgm:presLayoutVars>
      </dgm:prSet>
      <dgm:spPr/>
      <dgm:t>
        <a:bodyPr/>
        <a:lstStyle/>
        <a:p>
          <a:endParaRPr lang="en-US"/>
        </a:p>
      </dgm:t>
    </dgm:pt>
    <dgm:pt modelId="{5F19F73B-0E11-4105-A4E8-5E85E3D1E396}" type="pres">
      <dgm:prSet presAssocID="{0855BAD5-8217-41F1-9E55-66D5614DA936}" presName="node" presStyleLbl="node1" presStyleIdx="0" presStyleCnt="8">
        <dgm:presLayoutVars>
          <dgm:bulletEnabled val="1"/>
        </dgm:presLayoutVars>
      </dgm:prSet>
      <dgm:spPr/>
      <dgm:t>
        <a:bodyPr/>
        <a:lstStyle/>
        <a:p>
          <a:endParaRPr lang="en-US"/>
        </a:p>
      </dgm:t>
    </dgm:pt>
    <dgm:pt modelId="{736DC7B3-CDBA-4078-BD3E-E54E40C8A3F0}" type="pres">
      <dgm:prSet presAssocID="{0855BAD5-8217-41F1-9E55-66D5614DA936}" presName="spNode" presStyleCnt="0"/>
      <dgm:spPr/>
    </dgm:pt>
    <dgm:pt modelId="{C236B38C-8F74-4F61-82C2-68EB5DA3CF58}" type="pres">
      <dgm:prSet presAssocID="{4DC96A29-DDD3-4E92-97C3-EF539D855FB4}" presName="sibTrans" presStyleLbl="sibTrans1D1" presStyleIdx="0" presStyleCnt="8"/>
      <dgm:spPr/>
      <dgm:t>
        <a:bodyPr/>
        <a:lstStyle/>
        <a:p>
          <a:endParaRPr lang="en-US"/>
        </a:p>
      </dgm:t>
    </dgm:pt>
    <dgm:pt modelId="{9091C1B2-6999-4048-8452-D7883955BB02}" type="pres">
      <dgm:prSet presAssocID="{86FAA3E6-0E80-44C1-9354-7E948FB0617E}" presName="node" presStyleLbl="node1" presStyleIdx="1" presStyleCnt="8">
        <dgm:presLayoutVars>
          <dgm:bulletEnabled val="1"/>
        </dgm:presLayoutVars>
      </dgm:prSet>
      <dgm:spPr/>
      <dgm:t>
        <a:bodyPr/>
        <a:lstStyle/>
        <a:p>
          <a:endParaRPr lang="en-US"/>
        </a:p>
      </dgm:t>
    </dgm:pt>
    <dgm:pt modelId="{4A33129B-5468-40E6-A643-B05B5D8DA875}" type="pres">
      <dgm:prSet presAssocID="{86FAA3E6-0E80-44C1-9354-7E948FB0617E}" presName="spNode" presStyleCnt="0"/>
      <dgm:spPr/>
    </dgm:pt>
    <dgm:pt modelId="{BE49D767-BBC8-4B5C-8DC1-D73B4154C26D}" type="pres">
      <dgm:prSet presAssocID="{509133E3-F5FC-4CCD-A255-EEB9190B6C69}" presName="sibTrans" presStyleLbl="sibTrans1D1" presStyleIdx="1" presStyleCnt="8"/>
      <dgm:spPr/>
      <dgm:t>
        <a:bodyPr/>
        <a:lstStyle/>
        <a:p>
          <a:endParaRPr lang="en-US"/>
        </a:p>
      </dgm:t>
    </dgm:pt>
    <dgm:pt modelId="{E7C8C494-3EF8-4CE6-A2A5-615446E06503}" type="pres">
      <dgm:prSet presAssocID="{B550ED2D-E561-46B2-B5A6-7BA9AEE4EBFC}" presName="node" presStyleLbl="node1" presStyleIdx="2" presStyleCnt="8">
        <dgm:presLayoutVars>
          <dgm:bulletEnabled val="1"/>
        </dgm:presLayoutVars>
      </dgm:prSet>
      <dgm:spPr/>
      <dgm:t>
        <a:bodyPr/>
        <a:lstStyle/>
        <a:p>
          <a:endParaRPr lang="en-US"/>
        </a:p>
      </dgm:t>
    </dgm:pt>
    <dgm:pt modelId="{3D7E6940-3EBF-4CCB-9965-A86AF34AE7BA}" type="pres">
      <dgm:prSet presAssocID="{B550ED2D-E561-46B2-B5A6-7BA9AEE4EBFC}" presName="spNode" presStyleCnt="0"/>
      <dgm:spPr/>
    </dgm:pt>
    <dgm:pt modelId="{42042689-2E60-4DB6-9911-F737DE6B77D0}" type="pres">
      <dgm:prSet presAssocID="{CE747C7B-2618-4628-994E-F37A32CBF02B}" presName="sibTrans" presStyleLbl="sibTrans1D1" presStyleIdx="2" presStyleCnt="8"/>
      <dgm:spPr/>
      <dgm:t>
        <a:bodyPr/>
        <a:lstStyle/>
        <a:p>
          <a:endParaRPr lang="en-US"/>
        </a:p>
      </dgm:t>
    </dgm:pt>
    <dgm:pt modelId="{CEB1B709-EEC6-4EAC-9FF4-CEC2F16D37A2}" type="pres">
      <dgm:prSet presAssocID="{95866115-D3FB-4455-AC21-4EB8491FA886}" presName="node" presStyleLbl="node1" presStyleIdx="3" presStyleCnt="8">
        <dgm:presLayoutVars>
          <dgm:bulletEnabled val="1"/>
        </dgm:presLayoutVars>
      </dgm:prSet>
      <dgm:spPr/>
      <dgm:t>
        <a:bodyPr/>
        <a:lstStyle/>
        <a:p>
          <a:endParaRPr lang="en-US"/>
        </a:p>
      </dgm:t>
    </dgm:pt>
    <dgm:pt modelId="{6AA542A0-89AF-45D2-A727-B3A6BA15D669}" type="pres">
      <dgm:prSet presAssocID="{95866115-D3FB-4455-AC21-4EB8491FA886}" presName="spNode" presStyleCnt="0"/>
      <dgm:spPr/>
    </dgm:pt>
    <dgm:pt modelId="{68E096B9-1A9F-473C-BE87-29292250EA38}" type="pres">
      <dgm:prSet presAssocID="{756E5285-C7DF-472B-9F4F-CAF5DBFB8A51}" presName="sibTrans" presStyleLbl="sibTrans1D1" presStyleIdx="3" presStyleCnt="8"/>
      <dgm:spPr/>
      <dgm:t>
        <a:bodyPr/>
        <a:lstStyle/>
        <a:p>
          <a:endParaRPr lang="en-US"/>
        </a:p>
      </dgm:t>
    </dgm:pt>
    <dgm:pt modelId="{6A8FFBF8-5C15-49B7-B4B4-B229AF80C2CE}" type="pres">
      <dgm:prSet presAssocID="{4069DFDE-2277-40E8-8659-F5B837F8A925}" presName="node" presStyleLbl="node1" presStyleIdx="4" presStyleCnt="8">
        <dgm:presLayoutVars>
          <dgm:bulletEnabled val="1"/>
        </dgm:presLayoutVars>
      </dgm:prSet>
      <dgm:spPr/>
      <dgm:t>
        <a:bodyPr/>
        <a:lstStyle/>
        <a:p>
          <a:endParaRPr lang="en-US"/>
        </a:p>
      </dgm:t>
    </dgm:pt>
    <dgm:pt modelId="{46140A19-FBC9-455B-BDD8-D0E6C1855343}" type="pres">
      <dgm:prSet presAssocID="{4069DFDE-2277-40E8-8659-F5B837F8A925}" presName="spNode" presStyleCnt="0"/>
      <dgm:spPr/>
    </dgm:pt>
    <dgm:pt modelId="{47717E81-E989-4AC1-96BA-A8267F4A7360}" type="pres">
      <dgm:prSet presAssocID="{B0F55B93-DB86-4DFE-9762-E9CBA25B9018}" presName="sibTrans" presStyleLbl="sibTrans1D1" presStyleIdx="4" presStyleCnt="8"/>
      <dgm:spPr/>
      <dgm:t>
        <a:bodyPr/>
        <a:lstStyle/>
        <a:p>
          <a:endParaRPr lang="en-US"/>
        </a:p>
      </dgm:t>
    </dgm:pt>
    <dgm:pt modelId="{F0FDEA3E-4DEA-43C1-A150-065143C229F7}" type="pres">
      <dgm:prSet presAssocID="{ED4BB26C-4BC6-4073-94D7-06111E823E84}" presName="node" presStyleLbl="node1" presStyleIdx="5" presStyleCnt="8">
        <dgm:presLayoutVars>
          <dgm:bulletEnabled val="1"/>
        </dgm:presLayoutVars>
      </dgm:prSet>
      <dgm:spPr/>
      <dgm:t>
        <a:bodyPr/>
        <a:lstStyle/>
        <a:p>
          <a:endParaRPr lang="en-US"/>
        </a:p>
      </dgm:t>
    </dgm:pt>
    <dgm:pt modelId="{5BC55218-10E9-40E2-9F6A-317E80661725}" type="pres">
      <dgm:prSet presAssocID="{ED4BB26C-4BC6-4073-94D7-06111E823E84}" presName="spNode" presStyleCnt="0"/>
      <dgm:spPr/>
    </dgm:pt>
    <dgm:pt modelId="{BA4695AD-7D75-427F-A598-D7E20FE5FF09}" type="pres">
      <dgm:prSet presAssocID="{FB13037C-7934-4A97-A576-E59E3CDD0F87}" presName="sibTrans" presStyleLbl="sibTrans1D1" presStyleIdx="5" presStyleCnt="8"/>
      <dgm:spPr/>
      <dgm:t>
        <a:bodyPr/>
        <a:lstStyle/>
        <a:p>
          <a:endParaRPr lang="en-US"/>
        </a:p>
      </dgm:t>
    </dgm:pt>
    <dgm:pt modelId="{13DADA31-4831-454E-8875-D9B69FFA64D8}" type="pres">
      <dgm:prSet presAssocID="{68D7A74B-031C-4F74-8893-B707B5F6CDCD}" presName="node" presStyleLbl="node1" presStyleIdx="6" presStyleCnt="8">
        <dgm:presLayoutVars>
          <dgm:bulletEnabled val="1"/>
        </dgm:presLayoutVars>
      </dgm:prSet>
      <dgm:spPr/>
      <dgm:t>
        <a:bodyPr/>
        <a:lstStyle/>
        <a:p>
          <a:endParaRPr lang="en-US"/>
        </a:p>
      </dgm:t>
    </dgm:pt>
    <dgm:pt modelId="{6754CAAE-99D5-49BF-94F9-C70FDD9EF6B8}" type="pres">
      <dgm:prSet presAssocID="{68D7A74B-031C-4F74-8893-B707B5F6CDCD}" presName="spNode" presStyleCnt="0"/>
      <dgm:spPr/>
    </dgm:pt>
    <dgm:pt modelId="{3B0E661A-AAF1-40ED-A43F-C397C65EF5F3}" type="pres">
      <dgm:prSet presAssocID="{9FAC15D6-EC01-4AC7-A264-78AE40135439}" presName="sibTrans" presStyleLbl="sibTrans1D1" presStyleIdx="6" presStyleCnt="8"/>
      <dgm:spPr/>
      <dgm:t>
        <a:bodyPr/>
        <a:lstStyle/>
        <a:p>
          <a:endParaRPr lang="en-US"/>
        </a:p>
      </dgm:t>
    </dgm:pt>
    <dgm:pt modelId="{256CDC3E-03C5-489F-96DB-8418EEF352C3}" type="pres">
      <dgm:prSet presAssocID="{C92DB722-1A18-467A-9CF1-1D1CEDA7EFCA}" presName="node" presStyleLbl="node1" presStyleIdx="7" presStyleCnt="8">
        <dgm:presLayoutVars>
          <dgm:bulletEnabled val="1"/>
        </dgm:presLayoutVars>
      </dgm:prSet>
      <dgm:spPr/>
      <dgm:t>
        <a:bodyPr/>
        <a:lstStyle/>
        <a:p>
          <a:endParaRPr lang="en-US"/>
        </a:p>
      </dgm:t>
    </dgm:pt>
    <dgm:pt modelId="{C0EBD991-C651-48E4-9B2B-5F831E2F6D49}" type="pres">
      <dgm:prSet presAssocID="{C92DB722-1A18-467A-9CF1-1D1CEDA7EFCA}" presName="spNode" presStyleCnt="0"/>
      <dgm:spPr/>
    </dgm:pt>
    <dgm:pt modelId="{9B4AA404-5AC4-4813-9DB0-A70A6D1DBC3B}" type="pres">
      <dgm:prSet presAssocID="{BB98C28A-EAE0-431C-A1FD-1637254F026E}" presName="sibTrans" presStyleLbl="sibTrans1D1" presStyleIdx="7" presStyleCnt="8"/>
      <dgm:spPr/>
      <dgm:t>
        <a:bodyPr/>
        <a:lstStyle/>
        <a:p>
          <a:endParaRPr lang="en-US"/>
        </a:p>
      </dgm:t>
    </dgm:pt>
  </dgm:ptLst>
  <dgm:cxnLst>
    <dgm:cxn modelId="{FA8BD3DD-0ACF-446A-9CE9-6C60EDA02914}" type="presOf" srcId="{FB13037C-7934-4A97-A576-E59E3CDD0F87}" destId="{BA4695AD-7D75-427F-A598-D7E20FE5FF09}" srcOrd="0" destOrd="0" presId="urn:microsoft.com/office/officeart/2005/8/layout/cycle6"/>
    <dgm:cxn modelId="{36F70C57-0654-413D-8E60-BF79248628C6}" type="presOf" srcId="{4069DFDE-2277-40E8-8659-F5B837F8A925}" destId="{6A8FFBF8-5C15-49B7-B4B4-B229AF80C2CE}" srcOrd="0" destOrd="0" presId="urn:microsoft.com/office/officeart/2005/8/layout/cycle6"/>
    <dgm:cxn modelId="{90F0300F-5AFE-4CC6-9C9D-2C2FF3C986C3}" type="presOf" srcId="{4DC96A29-DDD3-4E92-97C3-EF539D855FB4}" destId="{C236B38C-8F74-4F61-82C2-68EB5DA3CF58}" srcOrd="0" destOrd="0" presId="urn:microsoft.com/office/officeart/2005/8/layout/cycle6"/>
    <dgm:cxn modelId="{151C23B4-9888-4D7A-B309-B9F4527032F1}" type="presOf" srcId="{9FAC15D6-EC01-4AC7-A264-78AE40135439}" destId="{3B0E661A-AAF1-40ED-A43F-C397C65EF5F3}" srcOrd="0" destOrd="0" presId="urn:microsoft.com/office/officeart/2005/8/layout/cycle6"/>
    <dgm:cxn modelId="{3A75A800-10C7-4C07-8D97-1006944067A4}" type="presOf" srcId="{CE747C7B-2618-4628-994E-F37A32CBF02B}" destId="{42042689-2E60-4DB6-9911-F737DE6B77D0}" srcOrd="0" destOrd="0" presId="urn:microsoft.com/office/officeart/2005/8/layout/cycle6"/>
    <dgm:cxn modelId="{6F518B81-A145-4FDF-B10A-FA3CA305A1D4}" type="presOf" srcId="{86FAA3E6-0E80-44C1-9354-7E948FB0617E}" destId="{9091C1B2-6999-4048-8452-D7883955BB02}" srcOrd="0" destOrd="0" presId="urn:microsoft.com/office/officeart/2005/8/layout/cycle6"/>
    <dgm:cxn modelId="{84E78239-C158-4B58-AE03-95D90EEB43E2}" type="presOf" srcId="{509133E3-F5FC-4CCD-A255-EEB9190B6C69}" destId="{BE49D767-BBC8-4B5C-8DC1-D73B4154C26D}" srcOrd="0" destOrd="0" presId="urn:microsoft.com/office/officeart/2005/8/layout/cycle6"/>
    <dgm:cxn modelId="{668D1626-504B-4197-A16A-1251B9610D29}" type="presOf" srcId="{0855BAD5-8217-41F1-9E55-66D5614DA936}" destId="{5F19F73B-0E11-4105-A4E8-5E85E3D1E396}" srcOrd="0" destOrd="0" presId="urn:microsoft.com/office/officeart/2005/8/layout/cycle6"/>
    <dgm:cxn modelId="{FC02F7BF-CA68-4E8B-B95C-A86E99E84636}" type="presOf" srcId="{B0F55B93-DB86-4DFE-9762-E9CBA25B9018}" destId="{47717E81-E989-4AC1-96BA-A8267F4A7360}" srcOrd="0" destOrd="0" presId="urn:microsoft.com/office/officeart/2005/8/layout/cycle6"/>
    <dgm:cxn modelId="{DE82EABF-D4CF-4156-9386-830DAF862E19}" srcId="{5C6EFFF3-C5C8-42D3-A348-CEDA8465EDBC}" destId="{95866115-D3FB-4455-AC21-4EB8491FA886}" srcOrd="3" destOrd="0" parTransId="{846EA845-5F77-48F5-B4F7-E7CE327638C1}" sibTransId="{756E5285-C7DF-472B-9F4F-CAF5DBFB8A51}"/>
    <dgm:cxn modelId="{CEF80F20-7B49-4177-BB29-67ED09B753F6}" type="presOf" srcId="{756E5285-C7DF-472B-9F4F-CAF5DBFB8A51}" destId="{68E096B9-1A9F-473C-BE87-29292250EA38}" srcOrd="0" destOrd="0" presId="urn:microsoft.com/office/officeart/2005/8/layout/cycle6"/>
    <dgm:cxn modelId="{373A31E7-5F8E-4EE2-9BFC-DC6BDF96C861}" type="presOf" srcId="{ED4BB26C-4BC6-4073-94D7-06111E823E84}" destId="{F0FDEA3E-4DEA-43C1-A150-065143C229F7}" srcOrd="0" destOrd="0" presId="urn:microsoft.com/office/officeart/2005/8/layout/cycle6"/>
    <dgm:cxn modelId="{7A6A63E4-D320-4579-B855-94DD87675A00}" srcId="{5C6EFFF3-C5C8-42D3-A348-CEDA8465EDBC}" destId="{0855BAD5-8217-41F1-9E55-66D5614DA936}" srcOrd="0" destOrd="0" parTransId="{00463A86-7FE7-466E-A57D-E5ADB28B7E51}" sibTransId="{4DC96A29-DDD3-4E92-97C3-EF539D855FB4}"/>
    <dgm:cxn modelId="{4A97A7F0-0595-4291-AE89-8C92C67B47AA}" srcId="{5C6EFFF3-C5C8-42D3-A348-CEDA8465EDBC}" destId="{4069DFDE-2277-40E8-8659-F5B837F8A925}" srcOrd="4" destOrd="0" parTransId="{80B6BA5E-B7F7-43EC-AB83-7184101B6F17}" sibTransId="{B0F55B93-DB86-4DFE-9762-E9CBA25B9018}"/>
    <dgm:cxn modelId="{BB914607-466D-47BC-8BBB-5CB66490BD90}" type="presOf" srcId="{68D7A74B-031C-4F74-8893-B707B5F6CDCD}" destId="{13DADA31-4831-454E-8875-D9B69FFA64D8}" srcOrd="0" destOrd="0" presId="urn:microsoft.com/office/officeart/2005/8/layout/cycle6"/>
    <dgm:cxn modelId="{EB84AE69-9946-4873-9836-E0461C0BD816}" srcId="{5C6EFFF3-C5C8-42D3-A348-CEDA8465EDBC}" destId="{ED4BB26C-4BC6-4073-94D7-06111E823E84}" srcOrd="5" destOrd="0" parTransId="{90F3B179-F527-4A3A-ADC9-9478106854F5}" sibTransId="{FB13037C-7934-4A97-A576-E59E3CDD0F87}"/>
    <dgm:cxn modelId="{1C6A5102-D0EC-4A1E-AAEA-CA410D0E206C}" type="presOf" srcId="{5C6EFFF3-C5C8-42D3-A348-CEDA8465EDBC}" destId="{C316AD26-1268-4916-BD59-7EB4BBC7F559}" srcOrd="0" destOrd="0" presId="urn:microsoft.com/office/officeart/2005/8/layout/cycle6"/>
    <dgm:cxn modelId="{79F8A204-E5EC-4F36-85A8-9FF13434047B}" srcId="{5C6EFFF3-C5C8-42D3-A348-CEDA8465EDBC}" destId="{68D7A74B-031C-4F74-8893-B707B5F6CDCD}" srcOrd="6" destOrd="0" parTransId="{663CDB80-9B6B-4D1F-BDA7-EF89A2B18929}" sibTransId="{9FAC15D6-EC01-4AC7-A264-78AE40135439}"/>
    <dgm:cxn modelId="{C116BDB5-80EF-443A-BFFF-F60184AA6B86}" type="presOf" srcId="{B550ED2D-E561-46B2-B5A6-7BA9AEE4EBFC}" destId="{E7C8C494-3EF8-4CE6-A2A5-615446E06503}" srcOrd="0" destOrd="0" presId="urn:microsoft.com/office/officeart/2005/8/layout/cycle6"/>
    <dgm:cxn modelId="{FC694072-4B36-44AE-98B9-9EF218B6C7BB}" srcId="{5C6EFFF3-C5C8-42D3-A348-CEDA8465EDBC}" destId="{B550ED2D-E561-46B2-B5A6-7BA9AEE4EBFC}" srcOrd="2" destOrd="0" parTransId="{6810B8DB-858D-4B0D-905A-A40D31140765}" sibTransId="{CE747C7B-2618-4628-994E-F37A32CBF02B}"/>
    <dgm:cxn modelId="{5C5E4770-074C-43CB-B345-419E282F7D2D}" type="presOf" srcId="{C92DB722-1A18-467A-9CF1-1D1CEDA7EFCA}" destId="{256CDC3E-03C5-489F-96DB-8418EEF352C3}" srcOrd="0" destOrd="0" presId="urn:microsoft.com/office/officeart/2005/8/layout/cycle6"/>
    <dgm:cxn modelId="{454236D2-C768-425A-B7EF-20A65856ECD1}" type="presOf" srcId="{95866115-D3FB-4455-AC21-4EB8491FA886}" destId="{CEB1B709-EEC6-4EAC-9FF4-CEC2F16D37A2}" srcOrd="0" destOrd="0" presId="urn:microsoft.com/office/officeart/2005/8/layout/cycle6"/>
    <dgm:cxn modelId="{4286E14A-4E8D-4BDF-8283-3B16F1A98735}" type="presOf" srcId="{BB98C28A-EAE0-431C-A1FD-1637254F026E}" destId="{9B4AA404-5AC4-4813-9DB0-A70A6D1DBC3B}" srcOrd="0" destOrd="0" presId="urn:microsoft.com/office/officeart/2005/8/layout/cycle6"/>
    <dgm:cxn modelId="{FB954110-B0BB-4454-BBD8-A5E6A9F2A3C8}" srcId="{5C6EFFF3-C5C8-42D3-A348-CEDA8465EDBC}" destId="{C92DB722-1A18-467A-9CF1-1D1CEDA7EFCA}" srcOrd="7" destOrd="0" parTransId="{86EC55CC-0B91-4FBF-9764-CF8DA60D6E91}" sibTransId="{BB98C28A-EAE0-431C-A1FD-1637254F026E}"/>
    <dgm:cxn modelId="{BC7712AF-4237-4A71-B7B6-35101F46F63C}" srcId="{5C6EFFF3-C5C8-42D3-A348-CEDA8465EDBC}" destId="{86FAA3E6-0E80-44C1-9354-7E948FB0617E}" srcOrd="1" destOrd="0" parTransId="{78759DF6-F115-4364-B85D-8C1CA1D41ECD}" sibTransId="{509133E3-F5FC-4CCD-A255-EEB9190B6C69}"/>
    <dgm:cxn modelId="{A3257062-7DBD-4D88-BDCA-BC365C13F056}" type="presParOf" srcId="{C316AD26-1268-4916-BD59-7EB4BBC7F559}" destId="{5F19F73B-0E11-4105-A4E8-5E85E3D1E396}" srcOrd="0" destOrd="0" presId="urn:microsoft.com/office/officeart/2005/8/layout/cycle6"/>
    <dgm:cxn modelId="{802E3DF0-BEAE-46B8-84DB-7501614AB0A7}" type="presParOf" srcId="{C316AD26-1268-4916-BD59-7EB4BBC7F559}" destId="{736DC7B3-CDBA-4078-BD3E-E54E40C8A3F0}" srcOrd="1" destOrd="0" presId="urn:microsoft.com/office/officeart/2005/8/layout/cycle6"/>
    <dgm:cxn modelId="{22949373-B8F0-4F8E-A6B7-C96635BF4D44}" type="presParOf" srcId="{C316AD26-1268-4916-BD59-7EB4BBC7F559}" destId="{C236B38C-8F74-4F61-82C2-68EB5DA3CF58}" srcOrd="2" destOrd="0" presId="urn:microsoft.com/office/officeart/2005/8/layout/cycle6"/>
    <dgm:cxn modelId="{ED4B48A0-A177-4F15-8B0A-0137C67A85DA}" type="presParOf" srcId="{C316AD26-1268-4916-BD59-7EB4BBC7F559}" destId="{9091C1B2-6999-4048-8452-D7883955BB02}" srcOrd="3" destOrd="0" presId="urn:microsoft.com/office/officeart/2005/8/layout/cycle6"/>
    <dgm:cxn modelId="{5A4714D4-2D63-4ED9-9658-2A5C9E9B8C57}" type="presParOf" srcId="{C316AD26-1268-4916-BD59-7EB4BBC7F559}" destId="{4A33129B-5468-40E6-A643-B05B5D8DA875}" srcOrd="4" destOrd="0" presId="urn:microsoft.com/office/officeart/2005/8/layout/cycle6"/>
    <dgm:cxn modelId="{B83202D9-79D9-4F9C-BFB3-261384210BB8}" type="presParOf" srcId="{C316AD26-1268-4916-BD59-7EB4BBC7F559}" destId="{BE49D767-BBC8-4B5C-8DC1-D73B4154C26D}" srcOrd="5" destOrd="0" presId="urn:microsoft.com/office/officeart/2005/8/layout/cycle6"/>
    <dgm:cxn modelId="{B6390142-7D5D-4984-8366-3067BE3F4BAA}" type="presParOf" srcId="{C316AD26-1268-4916-BD59-7EB4BBC7F559}" destId="{E7C8C494-3EF8-4CE6-A2A5-615446E06503}" srcOrd="6" destOrd="0" presId="urn:microsoft.com/office/officeart/2005/8/layout/cycle6"/>
    <dgm:cxn modelId="{A549BA2B-FE06-4980-B0ED-841FEAC06FF2}" type="presParOf" srcId="{C316AD26-1268-4916-BD59-7EB4BBC7F559}" destId="{3D7E6940-3EBF-4CCB-9965-A86AF34AE7BA}" srcOrd="7" destOrd="0" presId="urn:microsoft.com/office/officeart/2005/8/layout/cycle6"/>
    <dgm:cxn modelId="{73FE2751-D445-4DA7-B056-F63B36F6A241}" type="presParOf" srcId="{C316AD26-1268-4916-BD59-7EB4BBC7F559}" destId="{42042689-2E60-4DB6-9911-F737DE6B77D0}" srcOrd="8" destOrd="0" presId="urn:microsoft.com/office/officeart/2005/8/layout/cycle6"/>
    <dgm:cxn modelId="{C9A2E336-DDAD-49AC-A5CA-DFE811BE4840}" type="presParOf" srcId="{C316AD26-1268-4916-BD59-7EB4BBC7F559}" destId="{CEB1B709-EEC6-4EAC-9FF4-CEC2F16D37A2}" srcOrd="9" destOrd="0" presId="urn:microsoft.com/office/officeart/2005/8/layout/cycle6"/>
    <dgm:cxn modelId="{DF225E35-B6E9-427D-BDDB-026FB36AA46A}" type="presParOf" srcId="{C316AD26-1268-4916-BD59-7EB4BBC7F559}" destId="{6AA542A0-89AF-45D2-A727-B3A6BA15D669}" srcOrd="10" destOrd="0" presId="urn:microsoft.com/office/officeart/2005/8/layout/cycle6"/>
    <dgm:cxn modelId="{D80C0861-9EFB-42A9-BF30-9611C2BA3546}" type="presParOf" srcId="{C316AD26-1268-4916-BD59-7EB4BBC7F559}" destId="{68E096B9-1A9F-473C-BE87-29292250EA38}" srcOrd="11" destOrd="0" presId="urn:microsoft.com/office/officeart/2005/8/layout/cycle6"/>
    <dgm:cxn modelId="{C519EC15-D601-472C-9F26-1ADF2A2AFF3C}" type="presParOf" srcId="{C316AD26-1268-4916-BD59-7EB4BBC7F559}" destId="{6A8FFBF8-5C15-49B7-B4B4-B229AF80C2CE}" srcOrd="12" destOrd="0" presId="urn:microsoft.com/office/officeart/2005/8/layout/cycle6"/>
    <dgm:cxn modelId="{129061A8-46ED-4F12-A3E7-E0BFC52707A7}" type="presParOf" srcId="{C316AD26-1268-4916-BD59-7EB4BBC7F559}" destId="{46140A19-FBC9-455B-BDD8-D0E6C1855343}" srcOrd="13" destOrd="0" presId="urn:microsoft.com/office/officeart/2005/8/layout/cycle6"/>
    <dgm:cxn modelId="{BDB66942-1E7C-45E1-8C94-D5DAF8FE80BA}" type="presParOf" srcId="{C316AD26-1268-4916-BD59-7EB4BBC7F559}" destId="{47717E81-E989-4AC1-96BA-A8267F4A7360}" srcOrd="14" destOrd="0" presId="urn:microsoft.com/office/officeart/2005/8/layout/cycle6"/>
    <dgm:cxn modelId="{66C41F0A-A716-4754-9A77-2177C0FDBF08}" type="presParOf" srcId="{C316AD26-1268-4916-BD59-7EB4BBC7F559}" destId="{F0FDEA3E-4DEA-43C1-A150-065143C229F7}" srcOrd="15" destOrd="0" presId="urn:microsoft.com/office/officeart/2005/8/layout/cycle6"/>
    <dgm:cxn modelId="{46E4DB3B-CDD6-4C94-ADEA-AB4C7E15360A}" type="presParOf" srcId="{C316AD26-1268-4916-BD59-7EB4BBC7F559}" destId="{5BC55218-10E9-40E2-9F6A-317E80661725}" srcOrd="16" destOrd="0" presId="urn:microsoft.com/office/officeart/2005/8/layout/cycle6"/>
    <dgm:cxn modelId="{82779535-041B-40AD-8BB6-9A806A4DFEAA}" type="presParOf" srcId="{C316AD26-1268-4916-BD59-7EB4BBC7F559}" destId="{BA4695AD-7D75-427F-A598-D7E20FE5FF09}" srcOrd="17" destOrd="0" presId="urn:microsoft.com/office/officeart/2005/8/layout/cycle6"/>
    <dgm:cxn modelId="{FAFF2A7D-1AF3-4BE9-B6C8-7B59A3082B60}" type="presParOf" srcId="{C316AD26-1268-4916-BD59-7EB4BBC7F559}" destId="{13DADA31-4831-454E-8875-D9B69FFA64D8}" srcOrd="18" destOrd="0" presId="urn:microsoft.com/office/officeart/2005/8/layout/cycle6"/>
    <dgm:cxn modelId="{E9DD1D25-2B69-4CBF-ABC2-662024F85415}" type="presParOf" srcId="{C316AD26-1268-4916-BD59-7EB4BBC7F559}" destId="{6754CAAE-99D5-49BF-94F9-C70FDD9EF6B8}" srcOrd="19" destOrd="0" presId="urn:microsoft.com/office/officeart/2005/8/layout/cycle6"/>
    <dgm:cxn modelId="{A5319294-B084-4CBA-A7D8-7AA9975042A8}" type="presParOf" srcId="{C316AD26-1268-4916-BD59-7EB4BBC7F559}" destId="{3B0E661A-AAF1-40ED-A43F-C397C65EF5F3}" srcOrd="20" destOrd="0" presId="urn:microsoft.com/office/officeart/2005/8/layout/cycle6"/>
    <dgm:cxn modelId="{AB8A2411-E7EB-41C5-9ED3-5778A043FD71}" type="presParOf" srcId="{C316AD26-1268-4916-BD59-7EB4BBC7F559}" destId="{256CDC3E-03C5-489F-96DB-8418EEF352C3}" srcOrd="21" destOrd="0" presId="urn:microsoft.com/office/officeart/2005/8/layout/cycle6"/>
    <dgm:cxn modelId="{9778E65F-02EC-45C8-86A4-0415C538F3B6}" type="presParOf" srcId="{C316AD26-1268-4916-BD59-7EB4BBC7F559}" destId="{C0EBD991-C651-48E4-9B2B-5F831E2F6D49}" srcOrd="22" destOrd="0" presId="urn:microsoft.com/office/officeart/2005/8/layout/cycle6"/>
    <dgm:cxn modelId="{244D7510-AB52-4B63-9FC8-631F14C44AB7}" type="presParOf" srcId="{C316AD26-1268-4916-BD59-7EB4BBC7F559}" destId="{9B4AA404-5AC4-4813-9DB0-A70A6D1DBC3B}" srcOrd="23"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B214E8-C0AE-4CCB-9EBB-6DD1162BCA3D}">
      <dsp:nvSpPr>
        <dsp:cNvPr id="0" name=""/>
        <dsp:cNvSpPr/>
      </dsp:nvSpPr>
      <dsp:spPr>
        <a:xfrm>
          <a:off x="2286" y="633601"/>
          <a:ext cx="1927632" cy="391216"/>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HTML5</a:t>
          </a:r>
          <a:endParaRPr lang="en-US" sz="1400" kern="1200" dirty="0"/>
        </a:p>
      </dsp:txBody>
      <dsp:txXfrm>
        <a:off x="2286" y="633601"/>
        <a:ext cx="1927632" cy="391216"/>
      </dsp:txXfrm>
    </dsp:sp>
    <dsp:sp modelId="{F05ECDCA-4924-4FC6-BC42-ECAFBC6E205E}">
      <dsp:nvSpPr>
        <dsp:cNvPr id="0" name=""/>
        <dsp:cNvSpPr/>
      </dsp:nvSpPr>
      <dsp:spPr>
        <a:xfrm>
          <a:off x="2286" y="1024817"/>
          <a:ext cx="1927632" cy="3758837"/>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US" sz="1400" b="0" i="0" kern="1200" dirty="0" smtClean="0"/>
            <a:t>New Markup Elements</a:t>
          </a:r>
          <a:endParaRPr lang="en-US" sz="1400" kern="1200" dirty="0"/>
        </a:p>
        <a:p>
          <a:pPr marL="114300" lvl="1" indent="-114300" algn="l" defTabSz="622300" rtl="0">
            <a:lnSpc>
              <a:spcPct val="90000"/>
            </a:lnSpc>
            <a:spcBef>
              <a:spcPct val="0"/>
            </a:spcBef>
            <a:spcAft>
              <a:spcPct val="15000"/>
            </a:spcAft>
            <a:buChar char="••"/>
          </a:pPr>
          <a:r>
            <a:rPr lang="en-US" sz="1400" b="0" i="0" kern="1200" smtClean="0"/>
            <a:t>Canvas</a:t>
          </a:r>
          <a:endParaRPr lang="en-US" sz="1400" kern="1200" dirty="0"/>
        </a:p>
        <a:p>
          <a:pPr marL="114300" lvl="1" indent="-114300" algn="l" defTabSz="622300" rtl="0">
            <a:lnSpc>
              <a:spcPct val="90000"/>
            </a:lnSpc>
            <a:spcBef>
              <a:spcPct val="0"/>
            </a:spcBef>
            <a:spcAft>
              <a:spcPct val="15000"/>
            </a:spcAft>
            <a:buChar char="••"/>
          </a:pPr>
          <a:r>
            <a:rPr lang="en-US" sz="1400" b="0" i="0" kern="1200" smtClean="0"/>
            <a:t>Audio</a:t>
          </a:r>
          <a:endParaRPr lang="en-US" sz="1400" kern="1200" dirty="0"/>
        </a:p>
        <a:p>
          <a:pPr marL="114300" lvl="1" indent="-114300" algn="l" defTabSz="622300" rtl="0">
            <a:lnSpc>
              <a:spcPct val="90000"/>
            </a:lnSpc>
            <a:spcBef>
              <a:spcPct val="0"/>
            </a:spcBef>
            <a:spcAft>
              <a:spcPct val="15000"/>
            </a:spcAft>
            <a:buChar char="••"/>
          </a:pPr>
          <a:r>
            <a:rPr lang="en-US" sz="1400" b="0" i="0" kern="1200" dirty="0" smtClean="0"/>
            <a:t>Video</a:t>
          </a:r>
          <a:endParaRPr lang="en-US" sz="1400" kern="1200" dirty="0"/>
        </a:p>
        <a:p>
          <a:pPr marL="114300" lvl="1" indent="-114300" algn="l" defTabSz="622300" rtl="0">
            <a:lnSpc>
              <a:spcPct val="90000"/>
            </a:lnSpc>
            <a:spcBef>
              <a:spcPct val="0"/>
            </a:spcBef>
            <a:spcAft>
              <a:spcPct val="15000"/>
            </a:spcAft>
            <a:buChar char="••"/>
          </a:pPr>
          <a:r>
            <a:rPr lang="en-US" sz="1400" b="0" i="0" kern="1200" smtClean="0"/>
            <a:t>Local Storage</a:t>
          </a:r>
          <a:endParaRPr lang="en-US" sz="1400" kern="1200" dirty="0"/>
        </a:p>
        <a:p>
          <a:pPr marL="114300" lvl="1" indent="-114300" algn="l" defTabSz="622300" rtl="0">
            <a:lnSpc>
              <a:spcPct val="90000"/>
            </a:lnSpc>
            <a:spcBef>
              <a:spcPct val="0"/>
            </a:spcBef>
            <a:spcAft>
              <a:spcPct val="15000"/>
            </a:spcAft>
            <a:buChar char="••"/>
          </a:pPr>
          <a:r>
            <a:rPr lang="en-US" sz="1400" b="0" i="0" kern="1200" dirty="0" smtClean="0"/>
            <a:t>Cross-Window Messaging</a:t>
          </a:r>
          <a:endParaRPr lang="en-US" sz="1400" kern="1200" dirty="0"/>
        </a:p>
        <a:p>
          <a:pPr marL="114300" lvl="1" indent="-114300" algn="l" defTabSz="622300" rtl="0">
            <a:lnSpc>
              <a:spcPct val="90000"/>
            </a:lnSpc>
            <a:spcBef>
              <a:spcPct val="0"/>
            </a:spcBef>
            <a:spcAft>
              <a:spcPct val="15000"/>
            </a:spcAft>
            <a:buChar char="••"/>
          </a:pPr>
          <a:r>
            <a:rPr lang="en-US" sz="1400" b="0" i="0" kern="1200" smtClean="0"/>
            <a:t>Text Selection APIs</a:t>
          </a:r>
          <a:endParaRPr lang="en-US" sz="1400" kern="1200" dirty="0"/>
        </a:p>
        <a:p>
          <a:pPr marL="114300" lvl="1" indent="-114300" algn="l" defTabSz="622300" rtl="0">
            <a:lnSpc>
              <a:spcPct val="90000"/>
            </a:lnSpc>
            <a:spcBef>
              <a:spcPct val="0"/>
            </a:spcBef>
            <a:spcAft>
              <a:spcPct val="15000"/>
            </a:spcAft>
            <a:buChar char="••"/>
          </a:pPr>
          <a:r>
            <a:rPr lang="en-US" sz="1400" kern="1200" smtClean="0"/>
            <a:t>Parsing SVG in HTML</a:t>
          </a:r>
          <a:endParaRPr lang="en-US" sz="1400" kern="1200" dirty="0"/>
        </a:p>
      </dsp:txBody>
      <dsp:txXfrm>
        <a:off x="2286" y="1024817"/>
        <a:ext cx="1927632" cy="3758837"/>
      </dsp:txXfrm>
    </dsp:sp>
    <dsp:sp modelId="{C81AC74B-C79B-418F-8FB2-9961ADB03524}">
      <dsp:nvSpPr>
        <dsp:cNvPr id="0" name=""/>
        <dsp:cNvSpPr/>
      </dsp:nvSpPr>
      <dsp:spPr>
        <a:xfrm>
          <a:off x="2066845" y="626144"/>
          <a:ext cx="1927632" cy="391216"/>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CSS3</a:t>
          </a:r>
          <a:endParaRPr lang="en-US" sz="1400" kern="1200" dirty="0"/>
        </a:p>
      </dsp:txBody>
      <dsp:txXfrm>
        <a:off x="2066845" y="626144"/>
        <a:ext cx="1927632" cy="391216"/>
      </dsp:txXfrm>
    </dsp:sp>
    <dsp:sp modelId="{AB670AAA-15BF-4AFD-829B-DBF700002B2A}">
      <dsp:nvSpPr>
        <dsp:cNvPr id="0" name=""/>
        <dsp:cNvSpPr/>
      </dsp:nvSpPr>
      <dsp:spPr>
        <a:xfrm>
          <a:off x="2066845" y="1017361"/>
          <a:ext cx="1927632" cy="3773749"/>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US" sz="1400" b="0" i="0" u="none" kern="1200" smtClean="0"/>
            <a:t>2D Transforms</a:t>
          </a:r>
          <a:endParaRPr lang="en-US" sz="1400" kern="1200" dirty="0"/>
        </a:p>
        <a:p>
          <a:pPr marL="114300" lvl="1" indent="-114300" algn="l" defTabSz="622300">
            <a:lnSpc>
              <a:spcPct val="90000"/>
            </a:lnSpc>
            <a:spcBef>
              <a:spcPct val="0"/>
            </a:spcBef>
            <a:spcAft>
              <a:spcPct val="15000"/>
            </a:spcAft>
            <a:buChar char="••"/>
          </a:pPr>
          <a:r>
            <a:rPr lang="en-US" sz="1400" b="0" i="0" u="none" kern="1200" smtClean="0"/>
            <a:t>Border Radius</a:t>
          </a:r>
          <a:endParaRPr lang="en-US" sz="1400" kern="1200" dirty="0"/>
        </a:p>
        <a:p>
          <a:pPr marL="114300" lvl="1" indent="-114300" algn="l" defTabSz="622300">
            <a:lnSpc>
              <a:spcPct val="90000"/>
            </a:lnSpc>
            <a:spcBef>
              <a:spcPct val="0"/>
            </a:spcBef>
            <a:spcAft>
              <a:spcPct val="15000"/>
            </a:spcAft>
            <a:buChar char="••"/>
          </a:pPr>
          <a:r>
            <a:rPr lang="en-US" sz="1400" b="0" i="0" u="none" kern="1200" smtClean="0"/>
            <a:t>Box-Shadow</a:t>
          </a:r>
          <a:endParaRPr lang="en-US" sz="1400" kern="1200" dirty="0"/>
        </a:p>
        <a:p>
          <a:pPr marL="114300" lvl="1" indent="-114300" algn="l" defTabSz="622300">
            <a:lnSpc>
              <a:spcPct val="90000"/>
            </a:lnSpc>
            <a:spcBef>
              <a:spcPct val="0"/>
            </a:spcBef>
            <a:spcAft>
              <a:spcPct val="15000"/>
            </a:spcAft>
            <a:buChar char="••"/>
          </a:pPr>
          <a:r>
            <a:rPr lang="en-US" sz="1400" b="0" i="0" u="none" kern="1200" smtClean="0"/>
            <a:t>Fonts (WOFF)</a:t>
          </a:r>
          <a:endParaRPr lang="en-US" sz="1400" kern="1200" dirty="0"/>
        </a:p>
        <a:p>
          <a:pPr marL="114300" lvl="1" indent="-114300" algn="l" defTabSz="622300">
            <a:lnSpc>
              <a:spcPct val="90000"/>
            </a:lnSpc>
            <a:spcBef>
              <a:spcPct val="0"/>
            </a:spcBef>
            <a:spcAft>
              <a:spcPct val="15000"/>
            </a:spcAft>
            <a:buChar char="••"/>
          </a:pPr>
          <a:r>
            <a:rPr lang="en-US" sz="1400" b="0" i="0" u="none" kern="1200" smtClean="0"/>
            <a:t>Media Queries</a:t>
          </a:r>
          <a:endParaRPr lang="en-US" sz="1400" kern="1200" dirty="0"/>
        </a:p>
        <a:p>
          <a:pPr marL="114300" lvl="1" indent="-114300" algn="l" defTabSz="622300">
            <a:lnSpc>
              <a:spcPct val="90000"/>
            </a:lnSpc>
            <a:spcBef>
              <a:spcPct val="0"/>
            </a:spcBef>
            <a:spcAft>
              <a:spcPct val="15000"/>
            </a:spcAft>
            <a:buChar char="••"/>
          </a:pPr>
          <a:r>
            <a:rPr lang="en-US" sz="1400" b="0" i="0" u="none" kern="1200" dirty="0" smtClean="0"/>
            <a:t>Multiple Backgrounds</a:t>
          </a:r>
          <a:endParaRPr lang="en-US" sz="1400" kern="1200" dirty="0"/>
        </a:p>
        <a:p>
          <a:pPr marL="114300" lvl="1" indent="-114300" algn="l" defTabSz="622300">
            <a:lnSpc>
              <a:spcPct val="90000"/>
            </a:lnSpc>
            <a:spcBef>
              <a:spcPct val="0"/>
            </a:spcBef>
            <a:spcAft>
              <a:spcPct val="15000"/>
            </a:spcAft>
            <a:buChar char="••"/>
          </a:pPr>
          <a:r>
            <a:rPr lang="en-US" sz="1400" b="0" i="0" u="none" kern="1200" smtClean="0"/>
            <a:t>Namespaces</a:t>
          </a:r>
          <a:endParaRPr lang="en-US" sz="1400" kern="1200" dirty="0"/>
        </a:p>
        <a:p>
          <a:pPr marL="114300" lvl="1" indent="-114300" algn="l" defTabSz="622300">
            <a:lnSpc>
              <a:spcPct val="90000"/>
            </a:lnSpc>
            <a:spcBef>
              <a:spcPct val="0"/>
            </a:spcBef>
            <a:spcAft>
              <a:spcPct val="15000"/>
            </a:spcAft>
            <a:buChar char="••"/>
          </a:pPr>
          <a:r>
            <a:rPr lang="en-US" sz="1400" b="0" i="0" u="none" kern="1200" smtClean="0"/>
            <a:t>Opacity</a:t>
          </a:r>
          <a:endParaRPr lang="en-US" sz="1400" kern="1200" dirty="0"/>
        </a:p>
        <a:p>
          <a:pPr marL="114300" lvl="1" indent="-114300" algn="l" defTabSz="622300">
            <a:lnSpc>
              <a:spcPct val="90000"/>
            </a:lnSpc>
            <a:spcBef>
              <a:spcPct val="0"/>
            </a:spcBef>
            <a:spcAft>
              <a:spcPct val="15000"/>
            </a:spcAft>
            <a:buChar char="••"/>
          </a:pPr>
          <a:r>
            <a:rPr lang="en-US" sz="1400" b="0" i="0" u="none" kern="1200" smtClean="0"/>
            <a:t>rgba(), hsl(), hsla()</a:t>
          </a:r>
          <a:endParaRPr lang="en-US" sz="1400" kern="1200" dirty="0"/>
        </a:p>
        <a:p>
          <a:pPr marL="114300" lvl="1" indent="-114300" algn="l" defTabSz="622300">
            <a:lnSpc>
              <a:spcPct val="90000"/>
            </a:lnSpc>
            <a:spcBef>
              <a:spcPct val="0"/>
            </a:spcBef>
            <a:spcAft>
              <a:spcPct val="15000"/>
            </a:spcAft>
            <a:buChar char="••"/>
          </a:pPr>
          <a:r>
            <a:rPr lang="en-US" sz="1400" b="0" i="0" u="none" kern="1200" smtClean="0"/>
            <a:t>Selectors </a:t>
          </a:r>
          <a:r>
            <a:rPr lang="en-US" sz="1400" b="0" i="1" u="none" kern="1200" smtClean="0"/>
            <a:t>(IE8)</a:t>
          </a:r>
          <a:endParaRPr lang="en-US" sz="1400" i="1" kern="1200" dirty="0"/>
        </a:p>
      </dsp:txBody>
      <dsp:txXfrm>
        <a:off x="2066845" y="1017361"/>
        <a:ext cx="1927632" cy="3773749"/>
      </dsp:txXfrm>
    </dsp:sp>
    <dsp:sp modelId="{3D83538A-A4CB-47F6-B082-F02160AEA199}">
      <dsp:nvSpPr>
        <dsp:cNvPr id="0" name=""/>
        <dsp:cNvSpPr/>
      </dsp:nvSpPr>
      <dsp:spPr>
        <a:xfrm>
          <a:off x="4131404" y="618921"/>
          <a:ext cx="1927632" cy="391216"/>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SVG</a:t>
          </a:r>
          <a:endParaRPr lang="en-US" sz="1400" kern="1200" dirty="0"/>
        </a:p>
      </dsp:txBody>
      <dsp:txXfrm>
        <a:off x="4131404" y="618921"/>
        <a:ext cx="1927632" cy="391216"/>
      </dsp:txXfrm>
    </dsp:sp>
    <dsp:sp modelId="{2D3ECD94-3C0A-4A3F-86A8-BB20A78773B4}">
      <dsp:nvSpPr>
        <dsp:cNvPr id="0" name=""/>
        <dsp:cNvSpPr/>
      </dsp:nvSpPr>
      <dsp:spPr>
        <a:xfrm>
          <a:off x="4131404" y="1010138"/>
          <a:ext cx="1927632" cy="3788195"/>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US" sz="1400" b="0" i="0" kern="1200" smtClean="0"/>
            <a:t>Shapes</a:t>
          </a:r>
          <a:endParaRPr lang="en-US" sz="1400" kern="1200" dirty="0"/>
        </a:p>
        <a:p>
          <a:pPr marL="114300" lvl="1" indent="-114300" algn="l" defTabSz="622300" rtl="0">
            <a:lnSpc>
              <a:spcPct val="90000"/>
            </a:lnSpc>
            <a:spcBef>
              <a:spcPct val="0"/>
            </a:spcBef>
            <a:spcAft>
              <a:spcPct val="15000"/>
            </a:spcAft>
            <a:buChar char="••"/>
          </a:pPr>
          <a:r>
            <a:rPr lang="en-US" sz="1400" b="0" i="0" kern="1200" smtClean="0"/>
            <a:t>Clipping, Masking, and Compositing</a:t>
          </a:r>
          <a:endParaRPr lang="en-US" sz="1400" kern="1200" dirty="0"/>
        </a:p>
        <a:p>
          <a:pPr marL="114300" lvl="1" indent="-114300" algn="l" defTabSz="622300" rtl="0">
            <a:lnSpc>
              <a:spcPct val="90000"/>
            </a:lnSpc>
            <a:spcBef>
              <a:spcPct val="0"/>
            </a:spcBef>
            <a:spcAft>
              <a:spcPct val="15000"/>
            </a:spcAft>
            <a:buChar char="••"/>
          </a:pPr>
          <a:r>
            <a:rPr lang="en-US" sz="1400" b="0" i="0" kern="1200" smtClean="0"/>
            <a:t>Transforms</a:t>
          </a:r>
          <a:endParaRPr lang="en-US" sz="1400" kern="1200" dirty="0"/>
        </a:p>
        <a:p>
          <a:pPr marL="114300" lvl="1" indent="-114300" algn="l" defTabSz="622300" rtl="0">
            <a:lnSpc>
              <a:spcPct val="90000"/>
            </a:lnSpc>
            <a:spcBef>
              <a:spcPct val="0"/>
            </a:spcBef>
            <a:spcAft>
              <a:spcPct val="15000"/>
            </a:spcAft>
            <a:buChar char="••"/>
          </a:pPr>
          <a:r>
            <a:rPr lang="en-US" sz="1400" b="0" i="0" kern="1200" smtClean="0"/>
            <a:t>Extensibility</a:t>
          </a:r>
          <a:endParaRPr lang="en-US" sz="1400" kern="1200" dirty="0"/>
        </a:p>
        <a:p>
          <a:pPr marL="114300" lvl="1" indent="-114300" algn="l" defTabSz="622300" rtl="0">
            <a:lnSpc>
              <a:spcPct val="90000"/>
            </a:lnSpc>
            <a:spcBef>
              <a:spcPct val="0"/>
            </a:spcBef>
            <a:spcAft>
              <a:spcPct val="15000"/>
            </a:spcAft>
            <a:buChar char="••"/>
          </a:pPr>
          <a:r>
            <a:rPr lang="en-US" sz="1400" b="0" i="0" kern="1200" smtClean="0"/>
            <a:t>Gradients</a:t>
          </a:r>
          <a:endParaRPr lang="en-US" sz="1400" kern="1200" dirty="0"/>
        </a:p>
        <a:p>
          <a:pPr marL="114300" lvl="1" indent="-114300" algn="l" defTabSz="622300" rtl="0">
            <a:lnSpc>
              <a:spcPct val="90000"/>
            </a:lnSpc>
            <a:spcBef>
              <a:spcPct val="0"/>
            </a:spcBef>
            <a:spcAft>
              <a:spcPct val="15000"/>
            </a:spcAft>
            <a:buChar char="••"/>
          </a:pPr>
          <a:r>
            <a:rPr lang="en-US" sz="1400" b="0" i="0" kern="1200" dirty="0" smtClean="0"/>
            <a:t>Interactivity</a:t>
          </a:r>
          <a:endParaRPr lang="en-US" sz="1400" kern="1200" dirty="0"/>
        </a:p>
        <a:p>
          <a:pPr marL="114300" lvl="1" indent="-114300" algn="l" defTabSz="622300" rtl="0">
            <a:lnSpc>
              <a:spcPct val="90000"/>
            </a:lnSpc>
            <a:spcBef>
              <a:spcPct val="0"/>
            </a:spcBef>
            <a:spcAft>
              <a:spcPct val="15000"/>
            </a:spcAft>
            <a:buChar char="••"/>
          </a:pPr>
          <a:r>
            <a:rPr lang="en-US" sz="1400" b="0" i="0" kern="1200" smtClean="0"/>
            <a:t>Linking and Views</a:t>
          </a:r>
          <a:endParaRPr lang="en-US" sz="1400" kern="1200" dirty="0"/>
        </a:p>
        <a:p>
          <a:pPr marL="114300" lvl="1" indent="-114300" algn="l" defTabSz="622300" rtl="0">
            <a:lnSpc>
              <a:spcPct val="90000"/>
            </a:lnSpc>
            <a:spcBef>
              <a:spcPct val="0"/>
            </a:spcBef>
            <a:spcAft>
              <a:spcPct val="15000"/>
            </a:spcAft>
            <a:buChar char="••"/>
          </a:pPr>
          <a:r>
            <a:rPr lang="en-US" sz="1400" b="0" i="0" kern="1200" dirty="0" smtClean="0"/>
            <a:t>Painting and Colors</a:t>
          </a:r>
          <a:endParaRPr lang="en-US" sz="1400" kern="1200" dirty="0"/>
        </a:p>
        <a:p>
          <a:pPr marL="114300" lvl="1" indent="-114300" algn="l" defTabSz="622300" rtl="0">
            <a:lnSpc>
              <a:spcPct val="90000"/>
            </a:lnSpc>
            <a:spcBef>
              <a:spcPct val="0"/>
            </a:spcBef>
            <a:spcAft>
              <a:spcPct val="15000"/>
            </a:spcAft>
            <a:buChar char="••"/>
          </a:pPr>
          <a:r>
            <a:rPr lang="en-US" sz="1400" b="0" i="0" kern="1200" smtClean="0"/>
            <a:t>Paths</a:t>
          </a:r>
          <a:endParaRPr lang="en-US" sz="1400" kern="1200" dirty="0"/>
        </a:p>
        <a:p>
          <a:pPr marL="114300" lvl="1" indent="-114300" algn="l" defTabSz="622300" rtl="0">
            <a:lnSpc>
              <a:spcPct val="90000"/>
            </a:lnSpc>
            <a:spcBef>
              <a:spcPct val="0"/>
            </a:spcBef>
            <a:spcAft>
              <a:spcPct val="15000"/>
            </a:spcAft>
            <a:buChar char="••"/>
          </a:pPr>
          <a:r>
            <a:rPr lang="en-US" sz="1400" b="0" i="0" kern="1200" smtClean="0"/>
            <a:t>Text</a:t>
          </a:r>
          <a:endParaRPr lang="en-US" sz="1400" kern="1200" dirty="0"/>
        </a:p>
      </dsp:txBody>
      <dsp:txXfrm>
        <a:off x="4131404" y="1010138"/>
        <a:ext cx="1927632" cy="3788195"/>
      </dsp:txXfrm>
    </dsp:sp>
    <dsp:sp modelId="{3D12BC2E-FFC3-481C-ACB3-898C590FAA0D}">
      <dsp:nvSpPr>
        <dsp:cNvPr id="0" name=""/>
        <dsp:cNvSpPr/>
      </dsp:nvSpPr>
      <dsp:spPr>
        <a:xfrm>
          <a:off x="6195963" y="611924"/>
          <a:ext cx="1927632" cy="391216"/>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Others</a:t>
          </a:r>
          <a:endParaRPr lang="en-US" sz="1400" kern="1200" dirty="0"/>
        </a:p>
      </dsp:txBody>
      <dsp:txXfrm>
        <a:off x="6195963" y="611924"/>
        <a:ext cx="1927632" cy="391216"/>
      </dsp:txXfrm>
    </dsp:sp>
    <dsp:sp modelId="{4EB2CFD1-85D0-4D76-A685-565692B7A604}">
      <dsp:nvSpPr>
        <dsp:cNvPr id="0" name=""/>
        <dsp:cNvSpPr/>
      </dsp:nvSpPr>
      <dsp:spPr>
        <a:xfrm>
          <a:off x="6195963" y="1003140"/>
          <a:ext cx="1927632" cy="3802190"/>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US" sz="1400" b="0" i="0" kern="1200" dirty="0" smtClean="0"/>
            <a:t>ECMA Script 5 </a:t>
          </a:r>
          <a:br>
            <a:rPr lang="en-US" sz="1400" b="0" i="0" kern="1200" dirty="0" smtClean="0"/>
          </a:br>
          <a:r>
            <a:rPr lang="en-US" sz="1400" b="0" i="0" kern="1200" dirty="0" smtClean="0"/>
            <a:t>(all but Strict Mode)</a:t>
          </a:r>
          <a:endParaRPr lang="en-US" sz="1400" kern="1200" dirty="0"/>
        </a:p>
        <a:p>
          <a:pPr marL="114300" lvl="1" indent="-114300" algn="l" defTabSz="622300" rtl="0">
            <a:lnSpc>
              <a:spcPct val="90000"/>
            </a:lnSpc>
            <a:spcBef>
              <a:spcPct val="0"/>
            </a:spcBef>
            <a:spcAft>
              <a:spcPct val="15000"/>
            </a:spcAft>
            <a:buChar char="••"/>
          </a:pPr>
          <a:r>
            <a:rPr lang="en-US" sz="1400" kern="1200" dirty="0" smtClean="0"/>
            <a:t>Native JSON support</a:t>
          </a:r>
          <a:endParaRPr lang="en-US" sz="1400" kern="1200" dirty="0"/>
        </a:p>
        <a:p>
          <a:pPr marL="114300" lvl="1" indent="-114300" algn="l" defTabSz="622300" rtl="0">
            <a:lnSpc>
              <a:spcPct val="90000"/>
            </a:lnSpc>
            <a:spcBef>
              <a:spcPct val="0"/>
            </a:spcBef>
            <a:spcAft>
              <a:spcPct val="15000"/>
            </a:spcAft>
            <a:buChar char="••"/>
          </a:pPr>
          <a:r>
            <a:rPr lang="en-US" sz="1400" b="0" i="0" kern="1200" dirty="0" smtClean="0"/>
            <a:t>Performance API</a:t>
          </a:r>
          <a:endParaRPr lang="en-US" sz="1400" kern="1200" dirty="0"/>
        </a:p>
        <a:p>
          <a:pPr marL="114300" lvl="1" indent="-114300" algn="l" defTabSz="622300" rtl="0">
            <a:lnSpc>
              <a:spcPct val="90000"/>
            </a:lnSpc>
            <a:spcBef>
              <a:spcPct val="0"/>
            </a:spcBef>
            <a:spcAft>
              <a:spcPct val="15000"/>
            </a:spcAft>
            <a:buChar char="••"/>
          </a:pPr>
          <a:r>
            <a:rPr lang="en-US" sz="1400" b="0" i="0" kern="1200" dirty="0" smtClean="0"/>
            <a:t>Geo-Location</a:t>
          </a:r>
          <a:endParaRPr lang="en-US" sz="1400" kern="1200" dirty="0"/>
        </a:p>
        <a:p>
          <a:pPr marL="114300" lvl="1" indent="-114300" algn="l" defTabSz="622300" rtl="0">
            <a:lnSpc>
              <a:spcPct val="90000"/>
            </a:lnSpc>
            <a:spcBef>
              <a:spcPct val="0"/>
            </a:spcBef>
            <a:spcAft>
              <a:spcPct val="15000"/>
            </a:spcAft>
            <a:buChar char="••"/>
          </a:pPr>
          <a:r>
            <a:rPr lang="en-US" sz="1400" b="0" i="0" kern="1200" dirty="0" smtClean="0"/>
            <a:t>Data-</a:t>
          </a:r>
          <a:r>
            <a:rPr lang="en-US" sz="1400" b="0" i="0" kern="1200" dirty="0" err="1" smtClean="0"/>
            <a:t>uri</a:t>
          </a:r>
          <a:r>
            <a:rPr lang="en-US" sz="1400" b="0" i="0" kern="1200" dirty="0" smtClean="0"/>
            <a:t> </a:t>
          </a:r>
          <a:r>
            <a:rPr lang="en-US" sz="1400" b="0" i="1" u="none" kern="1200" dirty="0" smtClean="0"/>
            <a:t>(IE8)</a:t>
          </a:r>
          <a:endParaRPr lang="en-US" sz="1400" kern="1200" dirty="0"/>
        </a:p>
        <a:p>
          <a:pPr marL="114300" lvl="1" indent="-114300" algn="l" defTabSz="622300" rtl="0">
            <a:lnSpc>
              <a:spcPct val="90000"/>
            </a:lnSpc>
            <a:spcBef>
              <a:spcPct val="0"/>
            </a:spcBef>
            <a:spcAft>
              <a:spcPct val="15000"/>
            </a:spcAft>
            <a:buChar char="••"/>
          </a:pPr>
          <a:r>
            <a:rPr lang="en-US" sz="1400" b="0" i="0" kern="1200" dirty="0" smtClean="0"/>
            <a:t>DOM L2, L3</a:t>
          </a:r>
          <a:endParaRPr lang="en-US" sz="1400" kern="1200" dirty="0"/>
        </a:p>
        <a:p>
          <a:pPr marL="114300" lvl="1" indent="-114300" algn="l" defTabSz="622300" rtl="0">
            <a:lnSpc>
              <a:spcPct val="90000"/>
            </a:lnSpc>
            <a:spcBef>
              <a:spcPct val="0"/>
            </a:spcBef>
            <a:spcAft>
              <a:spcPct val="15000"/>
            </a:spcAft>
            <a:buChar char="••"/>
          </a:pPr>
          <a:r>
            <a:rPr lang="en-US" sz="1400" kern="1200" dirty="0" smtClean="0"/>
            <a:t>Selectors API L2 </a:t>
          </a:r>
          <a:endParaRPr lang="en-US" sz="1400" kern="1200" dirty="0"/>
        </a:p>
        <a:p>
          <a:pPr marL="114300" lvl="1" indent="-114300" algn="l" defTabSz="622300" rtl="0">
            <a:lnSpc>
              <a:spcPct val="90000"/>
            </a:lnSpc>
            <a:spcBef>
              <a:spcPct val="0"/>
            </a:spcBef>
            <a:spcAft>
              <a:spcPct val="15000"/>
            </a:spcAft>
            <a:buChar char="••"/>
          </a:pPr>
          <a:r>
            <a:rPr lang="en-US" sz="1400" kern="1200" dirty="0" smtClean="0"/>
            <a:t>AJAX Navigation</a:t>
          </a:r>
          <a:endParaRPr lang="en-US" sz="1400" kern="1200" dirty="0"/>
        </a:p>
        <a:p>
          <a:pPr marL="114300" lvl="1" indent="-114300" algn="l" defTabSz="622300" rtl="0">
            <a:lnSpc>
              <a:spcPct val="90000"/>
            </a:lnSpc>
            <a:spcBef>
              <a:spcPct val="0"/>
            </a:spcBef>
            <a:spcAft>
              <a:spcPct val="15000"/>
            </a:spcAft>
            <a:buChar char="••"/>
          </a:pPr>
          <a:r>
            <a:rPr lang="en-US" sz="1400" b="0" i="0" kern="1200" dirty="0" err="1" smtClean="0"/>
            <a:t>DOMParser</a:t>
          </a:r>
          <a:r>
            <a:rPr lang="en-US" sz="1400" b="0" i="0" kern="1200" dirty="0" smtClean="0"/>
            <a:t> and </a:t>
          </a:r>
          <a:r>
            <a:rPr lang="en-US" sz="1400" b="0" i="0" kern="1200" dirty="0" err="1" smtClean="0"/>
            <a:t>XMLSerializer</a:t>
          </a:r>
          <a:endParaRPr lang="en-US" sz="1400" kern="1200" dirty="0"/>
        </a:p>
        <a:p>
          <a:pPr marL="114300" lvl="1" indent="-114300" algn="l" defTabSz="622300">
            <a:lnSpc>
              <a:spcPct val="90000"/>
            </a:lnSpc>
            <a:spcBef>
              <a:spcPct val="0"/>
            </a:spcBef>
            <a:spcAft>
              <a:spcPct val="15000"/>
            </a:spcAft>
            <a:buChar char="••"/>
          </a:pPr>
          <a:r>
            <a:rPr lang="en-US" sz="1400" b="0" i="0" kern="1200" dirty="0" smtClean="0"/>
            <a:t>ICC v2 and Color Profile</a:t>
          </a:r>
          <a:endParaRPr lang="en-US" sz="1400" kern="1200" dirty="0"/>
        </a:p>
        <a:p>
          <a:pPr marL="114300" lvl="1" indent="-114300" algn="l" defTabSz="622300" rtl="0">
            <a:lnSpc>
              <a:spcPct val="90000"/>
            </a:lnSpc>
            <a:spcBef>
              <a:spcPct val="0"/>
            </a:spcBef>
            <a:spcAft>
              <a:spcPct val="15000"/>
            </a:spcAft>
            <a:buChar char="••"/>
          </a:pPr>
          <a:r>
            <a:rPr lang="en-US" sz="1400" kern="1200" dirty="0" smtClean="0"/>
            <a:t>ARIA</a:t>
          </a:r>
          <a:endParaRPr lang="en-US" sz="1400" kern="1200" dirty="0"/>
        </a:p>
      </dsp:txBody>
      <dsp:txXfrm>
        <a:off x="6195963" y="1003140"/>
        <a:ext cx="1927632" cy="38021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715135-CADA-4BA1-A95A-C4F4320C31F3}">
      <dsp:nvSpPr>
        <dsp:cNvPr id="0" name=""/>
        <dsp:cNvSpPr/>
      </dsp:nvSpPr>
      <dsp:spPr>
        <a:xfrm>
          <a:off x="2539" y="741450"/>
          <a:ext cx="2475854" cy="990341"/>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HTML5</a:t>
          </a:r>
          <a:endParaRPr lang="en-US" sz="1400" kern="1200" dirty="0"/>
        </a:p>
      </dsp:txBody>
      <dsp:txXfrm>
        <a:off x="2539" y="741450"/>
        <a:ext cx="2475854" cy="990341"/>
      </dsp:txXfrm>
    </dsp:sp>
    <dsp:sp modelId="{C2AD3F30-0B62-48EE-B779-76E775C50118}">
      <dsp:nvSpPr>
        <dsp:cNvPr id="0" name=""/>
        <dsp:cNvSpPr/>
      </dsp:nvSpPr>
      <dsp:spPr>
        <a:xfrm>
          <a:off x="2539" y="1731792"/>
          <a:ext cx="2475854" cy="2944012"/>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Application Cache</a:t>
          </a:r>
          <a:endParaRPr lang="en-US" sz="1400" kern="1200" dirty="0"/>
        </a:p>
        <a:p>
          <a:pPr marL="114300" lvl="1" indent="-114300" algn="l" defTabSz="622300">
            <a:lnSpc>
              <a:spcPct val="90000"/>
            </a:lnSpc>
            <a:spcBef>
              <a:spcPct val="0"/>
            </a:spcBef>
            <a:spcAft>
              <a:spcPct val="15000"/>
            </a:spcAft>
            <a:buChar char="••"/>
          </a:pPr>
          <a:r>
            <a:rPr lang="en-US" sz="1400" kern="1200" dirty="0" smtClean="0"/>
            <a:t>Drag&amp;Drop</a:t>
          </a:r>
          <a:endParaRPr lang="en-US" sz="1400" kern="1200" dirty="0"/>
        </a:p>
        <a:p>
          <a:pPr marL="114300" lvl="1" indent="-114300" algn="l" defTabSz="622300">
            <a:lnSpc>
              <a:spcPct val="90000"/>
            </a:lnSpc>
            <a:spcBef>
              <a:spcPct val="0"/>
            </a:spcBef>
            <a:spcAft>
              <a:spcPct val="15000"/>
            </a:spcAft>
            <a:buChar char="••"/>
          </a:pPr>
          <a:r>
            <a:rPr lang="en-US" sz="1400" kern="1200" dirty="0" smtClean="0"/>
            <a:t>File API</a:t>
          </a:r>
          <a:endParaRPr lang="en-US" sz="1400" kern="1200" dirty="0"/>
        </a:p>
        <a:p>
          <a:pPr marL="114300" lvl="1" indent="-114300" algn="l" defTabSz="622300">
            <a:lnSpc>
              <a:spcPct val="90000"/>
            </a:lnSpc>
            <a:spcBef>
              <a:spcPct val="0"/>
            </a:spcBef>
            <a:spcAft>
              <a:spcPct val="15000"/>
            </a:spcAft>
            <a:buChar char="••"/>
          </a:pPr>
          <a:r>
            <a:rPr lang="en-US" sz="1400" kern="1200" dirty="0" smtClean="0"/>
            <a:t>Forms Validation</a:t>
          </a:r>
          <a:endParaRPr lang="en-US" sz="1400" kern="1200" dirty="0"/>
        </a:p>
        <a:p>
          <a:pPr marL="114300" lvl="1" indent="-114300" algn="l" defTabSz="622300">
            <a:lnSpc>
              <a:spcPct val="90000"/>
            </a:lnSpc>
            <a:spcBef>
              <a:spcPct val="0"/>
            </a:spcBef>
            <a:spcAft>
              <a:spcPct val="15000"/>
            </a:spcAft>
            <a:buChar char="••"/>
          </a:pPr>
          <a:r>
            <a:rPr lang="en-US" sz="1400" kern="1200" dirty="0" smtClean="0"/>
            <a:t>History</a:t>
          </a:r>
          <a:endParaRPr lang="en-US" sz="1400" kern="1200" dirty="0"/>
        </a:p>
        <a:p>
          <a:pPr marL="114300" lvl="1" indent="-114300" algn="l" defTabSz="622300">
            <a:lnSpc>
              <a:spcPct val="90000"/>
            </a:lnSpc>
            <a:spcBef>
              <a:spcPct val="0"/>
            </a:spcBef>
            <a:spcAft>
              <a:spcPct val="15000"/>
            </a:spcAft>
            <a:buChar char="••"/>
          </a:pPr>
          <a:r>
            <a:rPr lang="en-US" sz="1400" kern="1200" dirty="0" smtClean="0"/>
            <a:t>IndexedDB</a:t>
          </a:r>
          <a:endParaRPr lang="en-US" sz="1400" kern="1200" dirty="0"/>
        </a:p>
        <a:p>
          <a:pPr marL="114300" lvl="1" indent="-114300" algn="l" defTabSz="622300">
            <a:lnSpc>
              <a:spcPct val="90000"/>
            </a:lnSpc>
            <a:spcBef>
              <a:spcPct val="0"/>
            </a:spcBef>
            <a:spcAft>
              <a:spcPct val="15000"/>
            </a:spcAft>
            <a:buChar char="••"/>
          </a:pPr>
          <a:r>
            <a:rPr lang="en-US" sz="1400" kern="1200" dirty="0" smtClean="0"/>
            <a:t>Sandbox</a:t>
          </a:r>
          <a:endParaRPr lang="en-US" sz="1400" kern="1200" dirty="0"/>
        </a:p>
        <a:p>
          <a:pPr marL="114300" lvl="1" indent="-114300" algn="l" defTabSz="622300">
            <a:lnSpc>
              <a:spcPct val="90000"/>
            </a:lnSpc>
            <a:spcBef>
              <a:spcPct val="0"/>
            </a:spcBef>
            <a:spcAft>
              <a:spcPct val="15000"/>
            </a:spcAft>
            <a:buChar char="••"/>
          </a:pPr>
          <a:r>
            <a:rPr lang="en-US" sz="1400" kern="1200" dirty="0" smtClean="0"/>
            <a:t>Web Sockets</a:t>
          </a:r>
          <a:endParaRPr lang="en-US" sz="1400" kern="1200" dirty="0"/>
        </a:p>
        <a:p>
          <a:pPr marL="114300" lvl="1" indent="-114300" algn="l" defTabSz="622300">
            <a:lnSpc>
              <a:spcPct val="90000"/>
            </a:lnSpc>
            <a:spcBef>
              <a:spcPct val="0"/>
            </a:spcBef>
            <a:spcAft>
              <a:spcPct val="15000"/>
            </a:spcAft>
            <a:buChar char="••"/>
          </a:pPr>
          <a:r>
            <a:rPr lang="en-US" sz="1400" kern="1200" dirty="0" smtClean="0"/>
            <a:t>Web Workers</a:t>
          </a:r>
          <a:endParaRPr lang="en-US" sz="1400" kern="1200" dirty="0"/>
        </a:p>
      </dsp:txBody>
      <dsp:txXfrm>
        <a:off x="2539" y="1731792"/>
        <a:ext cx="2475854" cy="2944012"/>
      </dsp:txXfrm>
    </dsp:sp>
    <dsp:sp modelId="{6842BC1C-71C0-4249-B394-47EBDF957F13}">
      <dsp:nvSpPr>
        <dsp:cNvPr id="0" name=""/>
        <dsp:cNvSpPr/>
      </dsp:nvSpPr>
      <dsp:spPr>
        <a:xfrm>
          <a:off x="2825014" y="741450"/>
          <a:ext cx="2475854" cy="990341"/>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CSS3</a:t>
          </a:r>
          <a:endParaRPr lang="en-US" sz="1400" kern="1200" dirty="0"/>
        </a:p>
      </dsp:txBody>
      <dsp:txXfrm>
        <a:off x="2825014" y="741450"/>
        <a:ext cx="2475854" cy="990341"/>
      </dsp:txXfrm>
    </dsp:sp>
    <dsp:sp modelId="{376716FD-8E0F-4017-8CDF-5C56755866F2}">
      <dsp:nvSpPr>
        <dsp:cNvPr id="0" name=""/>
        <dsp:cNvSpPr/>
      </dsp:nvSpPr>
      <dsp:spPr>
        <a:xfrm>
          <a:off x="2825014" y="1731792"/>
          <a:ext cx="2475854" cy="2944012"/>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smtClean="0"/>
            <a:t>3D Transforms</a:t>
          </a:r>
          <a:endParaRPr lang="en-US" sz="1400" kern="1200" dirty="0"/>
        </a:p>
        <a:p>
          <a:pPr marL="114300" lvl="1" indent="-114300" algn="l" defTabSz="622300">
            <a:lnSpc>
              <a:spcPct val="90000"/>
            </a:lnSpc>
            <a:spcBef>
              <a:spcPct val="0"/>
            </a:spcBef>
            <a:spcAft>
              <a:spcPct val="15000"/>
            </a:spcAft>
            <a:buChar char="••"/>
          </a:pPr>
          <a:r>
            <a:rPr lang="en-US" sz="1400" kern="1200" dirty="0" smtClean="0"/>
            <a:t>Animations</a:t>
          </a:r>
          <a:endParaRPr lang="en-US" sz="1400" kern="1200" dirty="0"/>
        </a:p>
        <a:p>
          <a:pPr marL="114300" lvl="1" indent="-114300" algn="l" defTabSz="622300">
            <a:lnSpc>
              <a:spcPct val="90000"/>
            </a:lnSpc>
            <a:spcBef>
              <a:spcPct val="0"/>
            </a:spcBef>
            <a:spcAft>
              <a:spcPct val="15000"/>
            </a:spcAft>
            <a:buChar char="••"/>
          </a:pPr>
          <a:r>
            <a:rPr lang="en-US" sz="1400" kern="1200" dirty="0" smtClean="0"/>
            <a:t>Flexible Box</a:t>
          </a:r>
          <a:endParaRPr lang="en-US" sz="1400" kern="1200" dirty="0"/>
        </a:p>
        <a:p>
          <a:pPr marL="114300" lvl="1" indent="-114300" algn="l" defTabSz="622300">
            <a:lnSpc>
              <a:spcPct val="90000"/>
            </a:lnSpc>
            <a:spcBef>
              <a:spcPct val="0"/>
            </a:spcBef>
            <a:spcAft>
              <a:spcPct val="15000"/>
            </a:spcAft>
            <a:buChar char="••"/>
          </a:pPr>
          <a:r>
            <a:rPr lang="en-US" sz="1400" kern="1200" dirty="0" smtClean="0"/>
            <a:t>Floats</a:t>
          </a:r>
          <a:endParaRPr lang="en-US" sz="1400" kern="1200" dirty="0"/>
        </a:p>
        <a:p>
          <a:pPr marL="114300" lvl="1" indent="-114300" algn="l" defTabSz="622300">
            <a:lnSpc>
              <a:spcPct val="90000"/>
            </a:lnSpc>
            <a:spcBef>
              <a:spcPct val="0"/>
            </a:spcBef>
            <a:spcAft>
              <a:spcPct val="15000"/>
            </a:spcAft>
            <a:buChar char="••"/>
          </a:pPr>
          <a:r>
            <a:rPr lang="en-US" sz="1400" kern="1200" dirty="0" smtClean="0"/>
            <a:t>Gradient</a:t>
          </a:r>
          <a:endParaRPr lang="en-US" sz="1400" kern="1200" dirty="0"/>
        </a:p>
        <a:p>
          <a:pPr marL="114300" lvl="1" indent="-114300" algn="l" defTabSz="622300">
            <a:lnSpc>
              <a:spcPct val="90000"/>
            </a:lnSpc>
            <a:spcBef>
              <a:spcPct val="0"/>
            </a:spcBef>
            <a:spcAft>
              <a:spcPct val="15000"/>
            </a:spcAft>
            <a:buChar char="••"/>
          </a:pPr>
          <a:r>
            <a:rPr lang="en-US" sz="1400" kern="1200" dirty="0" smtClean="0"/>
            <a:t>Grid</a:t>
          </a:r>
          <a:endParaRPr lang="en-US" sz="1400" kern="1200" dirty="0"/>
        </a:p>
        <a:p>
          <a:pPr marL="114300" lvl="1" indent="-114300" algn="l" defTabSz="622300">
            <a:lnSpc>
              <a:spcPct val="90000"/>
            </a:lnSpc>
            <a:spcBef>
              <a:spcPct val="0"/>
            </a:spcBef>
            <a:spcAft>
              <a:spcPct val="15000"/>
            </a:spcAft>
            <a:buChar char="••"/>
          </a:pPr>
          <a:r>
            <a:rPr lang="en-US" sz="1400" kern="1200" dirty="0" smtClean="0"/>
            <a:t>Multi-Column</a:t>
          </a:r>
          <a:endParaRPr lang="en-US" sz="1400" kern="1200" dirty="0"/>
        </a:p>
        <a:p>
          <a:pPr marL="114300" lvl="1" indent="-114300" algn="l" defTabSz="622300">
            <a:lnSpc>
              <a:spcPct val="90000"/>
            </a:lnSpc>
            <a:spcBef>
              <a:spcPct val="0"/>
            </a:spcBef>
            <a:spcAft>
              <a:spcPct val="15000"/>
            </a:spcAft>
            <a:buChar char="••"/>
          </a:pPr>
          <a:r>
            <a:rPr lang="en-US" sz="1400" kern="1200" dirty="0" smtClean="0"/>
            <a:t>Region</a:t>
          </a:r>
          <a:endParaRPr lang="en-US" sz="1400" kern="1200" dirty="0"/>
        </a:p>
        <a:p>
          <a:pPr marL="114300" lvl="1" indent="-114300" algn="l" defTabSz="622300">
            <a:lnSpc>
              <a:spcPct val="90000"/>
            </a:lnSpc>
            <a:spcBef>
              <a:spcPct val="0"/>
            </a:spcBef>
            <a:spcAft>
              <a:spcPct val="15000"/>
            </a:spcAft>
            <a:buChar char="••"/>
          </a:pPr>
          <a:r>
            <a:rPr lang="en-US" sz="1400" kern="1200" dirty="0" smtClean="0"/>
            <a:t>SVG Filter Effects</a:t>
          </a:r>
          <a:endParaRPr lang="en-US" sz="1400" kern="1200" dirty="0"/>
        </a:p>
        <a:p>
          <a:pPr marL="114300" lvl="1" indent="-114300" algn="l" defTabSz="622300">
            <a:lnSpc>
              <a:spcPct val="90000"/>
            </a:lnSpc>
            <a:spcBef>
              <a:spcPct val="0"/>
            </a:spcBef>
            <a:spcAft>
              <a:spcPct val="15000"/>
            </a:spcAft>
            <a:buChar char="••"/>
          </a:pPr>
          <a:r>
            <a:rPr lang="en-US" sz="1400" kern="1200" dirty="0" smtClean="0"/>
            <a:t>Text Shadow</a:t>
          </a:r>
          <a:endParaRPr lang="en-US" sz="1400" kern="1200" dirty="0"/>
        </a:p>
        <a:p>
          <a:pPr marL="114300" lvl="1" indent="-114300" algn="l" defTabSz="622300">
            <a:lnSpc>
              <a:spcPct val="90000"/>
            </a:lnSpc>
            <a:spcBef>
              <a:spcPct val="0"/>
            </a:spcBef>
            <a:spcAft>
              <a:spcPct val="15000"/>
            </a:spcAft>
            <a:buChar char="••"/>
          </a:pPr>
          <a:r>
            <a:rPr lang="en-US" sz="1400" kern="1200" dirty="0" smtClean="0"/>
            <a:t>Transitions</a:t>
          </a:r>
          <a:endParaRPr lang="en-US" sz="1400" kern="1200" dirty="0"/>
        </a:p>
      </dsp:txBody>
      <dsp:txXfrm>
        <a:off x="2825014" y="1731792"/>
        <a:ext cx="2475854" cy="2944012"/>
      </dsp:txXfrm>
    </dsp:sp>
    <dsp:sp modelId="{D13B5FFE-E3C7-4FC7-87A6-6C9FFABE9737}">
      <dsp:nvSpPr>
        <dsp:cNvPr id="0" name=""/>
        <dsp:cNvSpPr/>
      </dsp:nvSpPr>
      <dsp:spPr>
        <a:xfrm>
          <a:off x="5647488" y="741450"/>
          <a:ext cx="2475854" cy="990341"/>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kern="1200" dirty="0" smtClean="0"/>
            <a:t>Others</a:t>
          </a:r>
          <a:endParaRPr lang="en-US" sz="1400" kern="1200" dirty="0"/>
        </a:p>
      </dsp:txBody>
      <dsp:txXfrm>
        <a:off x="5647488" y="741450"/>
        <a:ext cx="2475854" cy="990341"/>
      </dsp:txXfrm>
    </dsp:sp>
    <dsp:sp modelId="{67C06C98-2178-4960-AA84-C9FB1609E8F2}">
      <dsp:nvSpPr>
        <dsp:cNvPr id="0" name=""/>
        <dsp:cNvSpPr/>
      </dsp:nvSpPr>
      <dsp:spPr>
        <a:xfrm>
          <a:off x="5647488" y="1731792"/>
          <a:ext cx="2475854" cy="2944012"/>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smtClean="0"/>
            <a:t>Advanced Hit Testing APIs</a:t>
          </a:r>
          <a:endParaRPr lang="en-US" sz="1400" kern="1200" dirty="0"/>
        </a:p>
        <a:p>
          <a:pPr marL="114300" lvl="1" indent="-114300" algn="l" defTabSz="622300">
            <a:lnSpc>
              <a:spcPct val="90000"/>
            </a:lnSpc>
            <a:spcBef>
              <a:spcPct val="0"/>
            </a:spcBef>
            <a:spcAft>
              <a:spcPct val="15000"/>
            </a:spcAft>
            <a:buChar char="••"/>
          </a:pPr>
          <a:r>
            <a:rPr lang="en-US" sz="1400" kern="1200" dirty="0" smtClean="0"/>
            <a:t>Async</a:t>
          </a:r>
          <a:endParaRPr lang="en-US" sz="1400" kern="1200" dirty="0"/>
        </a:p>
        <a:p>
          <a:pPr marL="114300" lvl="1" indent="-114300" algn="l" defTabSz="622300">
            <a:lnSpc>
              <a:spcPct val="90000"/>
            </a:lnSpc>
            <a:spcBef>
              <a:spcPct val="0"/>
            </a:spcBef>
            <a:spcAft>
              <a:spcPct val="15000"/>
            </a:spcAft>
            <a:buChar char="••"/>
          </a:pPr>
          <a:r>
            <a:rPr lang="en-US" sz="1400" kern="1200" dirty="0" smtClean="0"/>
            <a:t>Media Queries Listeners</a:t>
          </a:r>
          <a:endParaRPr lang="en-US" sz="1400" kern="1200" dirty="0"/>
        </a:p>
        <a:p>
          <a:pPr marL="114300" lvl="1" indent="-114300" algn="l" defTabSz="622300">
            <a:lnSpc>
              <a:spcPct val="90000"/>
            </a:lnSpc>
            <a:spcBef>
              <a:spcPct val="0"/>
            </a:spcBef>
            <a:spcAft>
              <a:spcPct val="15000"/>
            </a:spcAft>
            <a:buChar char="••"/>
          </a:pPr>
          <a:r>
            <a:rPr lang="en-US" sz="1400" kern="1200" dirty="0" smtClean="0"/>
            <a:t>Web Performance APIs</a:t>
          </a:r>
          <a:endParaRPr lang="en-US" sz="1400" kern="1200" dirty="0"/>
        </a:p>
      </dsp:txBody>
      <dsp:txXfrm>
        <a:off x="5647488" y="1731792"/>
        <a:ext cx="2475854" cy="294401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0B5389-43C3-4675-BE54-52D2CCE3D5E5}">
      <dsp:nvSpPr>
        <dsp:cNvPr id="0" name=""/>
        <dsp:cNvSpPr/>
      </dsp:nvSpPr>
      <dsp:spPr>
        <a:xfrm>
          <a:off x="3235" y="1541"/>
          <a:ext cx="7166550" cy="1833126"/>
        </a:xfrm>
        <a:prstGeom prst="roundRect">
          <a:avLst>
            <a:gd name="adj" fmla="val 10000"/>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167640" tIns="167640" rIns="167640" bIns="167640" numCol="1" spcCol="1270" anchor="ctr" anchorCtr="0">
          <a:noAutofit/>
          <a:sp3d extrusionH="28000" prstMaterial="matte"/>
        </a:bodyPr>
        <a:lstStyle/>
        <a:p>
          <a:pPr lvl="0" algn="ctr" defTabSz="1955800" rtl="0">
            <a:lnSpc>
              <a:spcPct val="90000"/>
            </a:lnSpc>
            <a:spcBef>
              <a:spcPct val="0"/>
            </a:spcBef>
            <a:spcAft>
              <a:spcPct val="35000"/>
            </a:spcAft>
          </a:pPr>
          <a:r>
            <a:rPr lang="en-US" sz="4400" kern="1200" dirty="0" smtClean="0"/>
            <a:t>W3C</a:t>
          </a:r>
          <a:endParaRPr lang="en-US" sz="4400" kern="1200" dirty="0"/>
        </a:p>
      </dsp:txBody>
      <dsp:txXfrm>
        <a:off x="56925" y="55231"/>
        <a:ext cx="7059170" cy="1725746"/>
      </dsp:txXfrm>
    </dsp:sp>
    <dsp:sp modelId="{7525039D-75EC-4B94-990A-03D130D61B9F}">
      <dsp:nvSpPr>
        <dsp:cNvPr id="0" name=""/>
        <dsp:cNvSpPr/>
      </dsp:nvSpPr>
      <dsp:spPr>
        <a:xfrm>
          <a:off x="3235" y="1976201"/>
          <a:ext cx="703191" cy="1833126"/>
        </a:xfrm>
        <a:prstGeom prst="roundRect">
          <a:avLst>
            <a:gd name="adj" fmla="val 10000"/>
          </a:avLst>
        </a:prstGeom>
        <a:solidFill>
          <a:schemeClr val="accent6"/>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t>HTML</a:t>
          </a:r>
          <a:endParaRPr lang="en-US" sz="1600" kern="1200" dirty="0"/>
        </a:p>
      </dsp:txBody>
      <dsp:txXfrm>
        <a:off x="23831" y="1996797"/>
        <a:ext cx="661999" cy="1791934"/>
      </dsp:txXfrm>
    </dsp:sp>
    <dsp:sp modelId="{ED9D7A6D-27F6-4122-BB52-8FF977A60715}">
      <dsp:nvSpPr>
        <dsp:cNvPr id="0" name=""/>
        <dsp:cNvSpPr/>
      </dsp:nvSpPr>
      <dsp:spPr>
        <a:xfrm>
          <a:off x="3235"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a:t>HTML5</a:t>
          </a:r>
          <a:endParaRPr lang="en-US" sz="1100" kern="1200" dirty="0"/>
        </a:p>
      </dsp:txBody>
      <dsp:txXfrm>
        <a:off x="5718" y="3953344"/>
        <a:ext cx="79817" cy="1828160"/>
      </dsp:txXfrm>
    </dsp:sp>
    <dsp:sp modelId="{956AF648-3F93-41DF-8180-2B82526844F8}">
      <dsp:nvSpPr>
        <dsp:cNvPr id="0" name=""/>
        <dsp:cNvSpPr/>
      </dsp:nvSpPr>
      <dsp:spPr>
        <a:xfrm>
          <a:off x="91579"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a:t>Canvas </a:t>
          </a:r>
          <a:r>
            <a:rPr lang="en-US" sz="700" kern="1200" dirty="0" smtClean="0"/>
            <a:t>2D Context</a:t>
          </a:r>
          <a:endParaRPr lang="en-US" sz="700" kern="1200" dirty="0"/>
        </a:p>
      </dsp:txBody>
      <dsp:txXfrm>
        <a:off x="94062" y="3953344"/>
        <a:ext cx="79817" cy="1828160"/>
      </dsp:txXfrm>
    </dsp:sp>
    <dsp:sp modelId="{CB40655B-3A78-446B-81DC-752E71EBF0AD}">
      <dsp:nvSpPr>
        <dsp:cNvPr id="0" name=""/>
        <dsp:cNvSpPr/>
      </dsp:nvSpPr>
      <dsp:spPr>
        <a:xfrm>
          <a:off x="179923"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Microdata</a:t>
          </a:r>
        </a:p>
      </dsp:txBody>
      <dsp:txXfrm>
        <a:off x="182406" y="3953344"/>
        <a:ext cx="79817" cy="1828160"/>
      </dsp:txXfrm>
    </dsp:sp>
    <dsp:sp modelId="{8835036C-3951-418C-AD84-34BFCDDB87E1}">
      <dsp:nvSpPr>
        <dsp:cNvPr id="0" name=""/>
        <dsp:cNvSpPr/>
      </dsp:nvSpPr>
      <dsp:spPr>
        <a:xfrm>
          <a:off x="268267"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err="1" smtClean="0"/>
            <a:t>HTML+RDFa</a:t>
          </a:r>
          <a:endParaRPr lang="en-US" sz="700" kern="1200" dirty="0"/>
        </a:p>
      </dsp:txBody>
      <dsp:txXfrm>
        <a:off x="270750" y="3953344"/>
        <a:ext cx="79817" cy="1828160"/>
      </dsp:txXfrm>
    </dsp:sp>
    <dsp:sp modelId="{0484FEF3-80BB-466E-AB48-804D8214DFD7}">
      <dsp:nvSpPr>
        <dsp:cNvPr id="0" name=""/>
        <dsp:cNvSpPr/>
      </dsp:nvSpPr>
      <dsp:spPr>
        <a:xfrm>
          <a:off x="356611"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HTML5 Markup</a:t>
          </a:r>
        </a:p>
      </dsp:txBody>
      <dsp:txXfrm>
        <a:off x="359094" y="3953344"/>
        <a:ext cx="79817" cy="1828160"/>
      </dsp:txXfrm>
    </dsp:sp>
    <dsp:sp modelId="{55108962-F779-40E9-A22C-763D4069C424}">
      <dsp:nvSpPr>
        <dsp:cNvPr id="0" name=""/>
        <dsp:cNvSpPr/>
      </dsp:nvSpPr>
      <dsp:spPr>
        <a:xfrm>
          <a:off x="444955"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smtClean="0"/>
            <a:t>HTML5 Diff from HTML4</a:t>
          </a:r>
          <a:endParaRPr lang="en-US" sz="700" kern="1200" dirty="0"/>
        </a:p>
      </dsp:txBody>
      <dsp:txXfrm>
        <a:off x="447438" y="3953344"/>
        <a:ext cx="79817" cy="1828160"/>
      </dsp:txXfrm>
    </dsp:sp>
    <dsp:sp modelId="{CF04E266-3C1F-4F0F-8ECB-91CBFF2A270A}">
      <dsp:nvSpPr>
        <dsp:cNvPr id="0" name=""/>
        <dsp:cNvSpPr/>
      </dsp:nvSpPr>
      <dsp:spPr>
        <a:xfrm>
          <a:off x="533300"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smtClean="0"/>
            <a:t>Polyglot Markup</a:t>
          </a:r>
          <a:endParaRPr lang="en-US" sz="700" kern="1200" dirty="0"/>
        </a:p>
      </dsp:txBody>
      <dsp:txXfrm>
        <a:off x="535783" y="3953344"/>
        <a:ext cx="79817" cy="1828160"/>
      </dsp:txXfrm>
    </dsp:sp>
    <dsp:sp modelId="{EFA85F0F-A555-42DB-B683-6C7318384ED3}">
      <dsp:nvSpPr>
        <dsp:cNvPr id="0" name=""/>
        <dsp:cNvSpPr/>
      </dsp:nvSpPr>
      <dsp:spPr>
        <a:xfrm>
          <a:off x="621644"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smtClean="0"/>
            <a:t>Text alternatives</a:t>
          </a:r>
          <a:endParaRPr lang="en-US" sz="700" kern="1200" dirty="0"/>
        </a:p>
      </dsp:txBody>
      <dsp:txXfrm>
        <a:off x="624127" y="3953344"/>
        <a:ext cx="79817" cy="1828160"/>
      </dsp:txXfrm>
    </dsp:sp>
    <dsp:sp modelId="{C55AC12B-0CD1-4BF4-9381-43DE229D9EE8}">
      <dsp:nvSpPr>
        <dsp:cNvPr id="0" name=""/>
        <dsp:cNvSpPr/>
      </dsp:nvSpPr>
      <dsp:spPr>
        <a:xfrm>
          <a:off x="685217" y="1979939"/>
          <a:ext cx="2470072" cy="1833126"/>
        </a:xfrm>
        <a:prstGeom prst="roundRect">
          <a:avLst>
            <a:gd name="adj" fmla="val 10000"/>
          </a:avLst>
        </a:prstGeom>
        <a:solidFill>
          <a:schemeClr val="accent6"/>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t>CSS</a:t>
          </a:r>
          <a:endParaRPr lang="en-US" sz="1600" kern="1200" dirty="0"/>
        </a:p>
      </dsp:txBody>
      <dsp:txXfrm>
        <a:off x="738907" y="2033629"/>
        <a:ext cx="2362692" cy="1725746"/>
      </dsp:txXfrm>
    </dsp:sp>
    <dsp:sp modelId="{5A7435AB-0EAE-48A3-9BD9-0F03114061DF}">
      <dsp:nvSpPr>
        <dsp:cNvPr id="0" name=""/>
        <dsp:cNvSpPr/>
      </dsp:nvSpPr>
      <dsp:spPr>
        <a:xfrm>
          <a:off x="713549"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Snapshot 2007</a:t>
          </a:r>
        </a:p>
      </dsp:txBody>
      <dsp:txXfrm>
        <a:off x="716032" y="3953344"/>
        <a:ext cx="79817" cy="1828160"/>
      </dsp:txXfrm>
    </dsp:sp>
    <dsp:sp modelId="{8DFEF4C6-66E1-457A-916F-64179C4E5A9B}">
      <dsp:nvSpPr>
        <dsp:cNvPr id="0" name=""/>
        <dsp:cNvSpPr/>
      </dsp:nvSpPr>
      <dsp:spPr>
        <a:xfrm>
          <a:off x="801893"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Namespaces</a:t>
          </a:r>
        </a:p>
      </dsp:txBody>
      <dsp:txXfrm>
        <a:off x="804376" y="3953344"/>
        <a:ext cx="79817" cy="1828160"/>
      </dsp:txXfrm>
    </dsp:sp>
    <dsp:sp modelId="{0B07CCEB-AA66-4E76-B431-1428E254EF9A}">
      <dsp:nvSpPr>
        <dsp:cNvPr id="0" name=""/>
        <dsp:cNvSpPr/>
      </dsp:nvSpPr>
      <dsp:spPr>
        <a:xfrm>
          <a:off x="890237"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a:t>CSS Paged Media</a:t>
          </a:r>
        </a:p>
      </dsp:txBody>
      <dsp:txXfrm>
        <a:off x="892720" y="3953344"/>
        <a:ext cx="79817" cy="1828160"/>
      </dsp:txXfrm>
    </dsp:sp>
    <dsp:sp modelId="{856C2FA2-2EF2-4EB3-9F07-25F25CEB6C88}">
      <dsp:nvSpPr>
        <dsp:cNvPr id="0" name=""/>
        <dsp:cNvSpPr/>
      </dsp:nvSpPr>
      <dsp:spPr>
        <a:xfrm>
          <a:off x="978581"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Print Profile</a:t>
          </a:r>
        </a:p>
      </dsp:txBody>
      <dsp:txXfrm>
        <a:off x="981064" y="3953344"/>
        <a:ext cx="79817" cy="1828160"/>
      </dsp:txXfrm>
    </dsp:sp>
    <dsp:sp modelId="{B8BC3BA1-ED75-4F94-956E-68AA5E500B2D}">
      <dsp:nvSpPr>
        <dsp:cNvPr id="0" name=""/>
        <dsp:cNvSpPr/>
      </dsp:nvSpPr>
      <dsp:spPr>
        <a:xfrm>
          <a:off x="1066925"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Values and Units</a:t>
          </a:r>
        </a:p>
      </dsp:txBody>
      <dsp:txXfrm>
        <a:off x="1069408" y="3953344"/>
        <a:ext cx="79817" cy="1828160"/>
      </dsp:txXfrm>
    </dsp:sp>
    <dsp:sp modelId="{F8AC719F-CAF3-491D-A1F9-4D5765FED417}">
      <dsp:nvSpPr>
        <dsp:cNvPr id="0" name=""/>
        <dsp:cNvSpPr/>
      </dsp:nvSpPr>
      <dsp:spPr>
        <a:xfrm>
          <a:off x="1155269"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Cascading and Inheritance</a:t>
          </a:r>
        </a:p>
      </dsp:txBody>
      <dsp:txXfrm>
        <a:off x="1157752" y="3953344"/>
        <a:ext cx="79817" cy="1828160"/>
      </dsp:txXfrm>
    </dsp:sp>
    <dsp:sp modelId="{F783456F-55BA-48F3-946C-335CB438F782}">
      <dsp:nvSpPr>
        <dsp:cNvPr id="0" name=""/>
        <dsp:cNvSpPr/>
      </dsp:nvSpPr>
      <dsp:spPr>
        <a:xfrm>
          <a:off x="1243613"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Text</a:t>
          </a:r>
        </a:p>
      </dsp:txBody>
      <dsp:txXfrm>
        <a:off x="1246096" y="3953344"/>
        <a:ext cx="79817" cy="1828160"/>
      </dsp:txXfrm>
    </dsp:sp>
    <dsp:sp modelId="{720B06E0-9EA7-47F7-98E8-655F7F53DCF4}">
      <dsp:nvSpPr>
        <dsp:cNvPr id="0" name=""/>
        <dsp:cNvSpPr/>
      </dsp:nvSpPr>
      <dsp:spPr>
        <a:xfrm>
          <a:off x="1331957"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Writing Modes</a:t>
          </a:r>
        </a:p>
      </dsp:txBody>
      <dsp:txXfrm>
        <a:off x="1334440" y="3953344"/>
        <a:ext cx="79817" cy="1828160"/>
      </dsp:txXfrm>
    </dsp:sp>
    <dsp:sp modelId="{AFAC0F0D-098F-4D27-93F0-D66465E8FF0D}">
      <dsp:nvSpPr>
        <dsp:cNvPr id="0" name=""/>
        <dsp:cNvSpPr/>
      </dsp:nvSpPr>
      <dsp:spPr>
        <a:xfrm>
          <a:off x="1420301"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Line Grid</a:t>
          </a:r>
        </a:p>
      </dsp:txBody>
      <dsp:txXfrm>
        <a:off x="1422784" y="3953344"/>
        <a:ext cx="79817" cy="1828160"/>
      </dsp:txXfrm>
    </dsp:sp>
    <dsp:sp modelId="{06466438-6FC9-465C-AA86-A61300E5A226}">
      <dsp:nvSpPr>
        <dsp:cNvPr id="0" name=""/>
        <dsp:cNvSpPr/>
      </dsp:nvSpPr>
      <dsp:spPr>
        <a:xfrm>
          <a:off x="1508645"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Ruby</a:t>
          </a:r>
        </a:p>
      </dsp:txBody>
      <dsp:txXfrm>
        <a:off x="1511128" y="3953344"/>
        <a:ext cx="79817" cy="1828160"/>
      </dsp:txXfrm>
    </dsp:sp>
    <dsp:sp modelId="{4C3F5D75-D660-4196-BE58-4FEEA2FD1070}">
      <dsp:nvSpPr>
        <dsp:cNvPr id="0" name=""/>
        <dsp:cNvSpPr/>
      </dsp:nvSpPr>
      <dsp:spPr>
        <a:xfrm>
          <a:off x="1596989"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19050" tIns="19050" rIns="19050" bIns="19050" numCol="1" spcCol="1270" anchor="ctr" anchorCtr="0">
          <a:noAutofit/>
          <a:sp3d extrusionH="28000" prstMaterial="matte"/>
        </a:bodyPr>
        <a:lstStyle/>
        <a:p>
          <a:pPr lvl="0" algn="ctr" defTabSz="222250">
            <a:lnSpc>
              <a:spcPct val="90000"/>
            </a:lnSpc>
            <a:spcBef>
              <a:spcPct val="0"/>
            </a:spcBef>
            <a:spcAft>
              <a:spcPct val="35000"/>
            </a:spcAft>
          </a:pPr>
          <a:r>
            <a:rPr lang="en-US" sz="500" kern="1200" dirty="0"/>
            <a:t>CSS Generated Content for </a:t>
          </a:r>
          <a:r>
            <a:rPr lang="en-US" sz="500" kern="1200" dirty="0" smtClean="0"/>
            <a:t>Paged Media</a:t>
          </a:r>
          <a:endParaRPr lang="en-US" sz="500" kern="1200" dirty="0"/>
        </a:p>
      </dsp:txBody>
      <dsp:txXfrm>
        <a:off x="1599472" y="3953344"/>
        <a:ext cx="79817" cy="1828160"/>
      </dsp:txXfrm>
    </dsp:sp>
    <dsp:sp modelId="{F3462B34-FF24-4172-91C1-2E0B070780EF}">
      <dsp:nvSpPr>
        <dsp:cNvPr id="0" name=""/>
        <dsp:cNvSpPr/>
      </dsp:nvSpPr>
      <dsp:spPr>
        <a:xfrm>
          <a:off x="1685333"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Backgrounds and Borders</a:t>
          </a:r>
        </a:p>
      </dsp:txBody>
      <dsp:txXfrm>
        <a:off x="1687816" y="3953344"/>
        <a:ext cx="79817" cy="1828160"/>
      </dsp:txXfrm>
    </dsp:sp>
    <dsp:sp modelId="{6F070F02-522B-4806-862C-30037E8CEB58}">
      <dsp:nvSpPr>
        <dsp:cNvPr id="0" name=""/>
        <dsp:cNvSpPr/>
      </dsp:nvSpPr>
      <dsp:spPr>
        <a:xfrm>
          <a:off x="1773677"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Fonts</a:t>
          </a:r>
        </a:p>
      </dsp:txBody>
      <dsp:txXfrm>
        <a:off x="1776160" y="3953344"/>
        <a:ext cx="79817" cy="1828160"/>
      </dsp:txXfrm>
    </dsp:sp>
    <dsp:sp modelId="{48736913-BC95-4CB6-B20E-8675B0283067}">
      <dsp:nvSpPr>
        <dsp:cNvPr id="0" name=""/>
        <dsp:cNvSpPr/>
      </dsp:nvSpPr>
      <dsp:spPr>
        <a:xfrm>
          <a:off x="1862021"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Basic Box Model</a:t>
          </a:r>
        </a:p>
      </dsp:txBody>
      <dsp:txXfrm>
        <a:off x="1864504" y="3953344"/>
        <a:ext cx="79817" cy="1828160"/>
      </dsp:txXfrm>
    </dsp:sp>
    <dsp:sp modelId="{5E00F13C-3E1F-476C-8759-D090A25C8392}">
      <dsp:nvSpPr>
        <dsp:cNvPr id="0" name=""/>
        <dsp:cNvSpPr/>
      </dsp:nvSpPr>
      <dsp:spPr>
        <a:xfrm>
          <a:off x="1950365"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Multi-column Layout</a:t>
          </a:r>
        </a:p>
      </dsp:txBody>
      <dsp:txXfrm>
        <a:off x="1952848" y="3953344"/>
        <a:ext cx="79817" cy="1828160"/>
      </dsp:txXfrm>
    </dsp:sp>
    <dsp:sp modelId="{99015059-36D6-478F-9D2D-F2C276ECB7CC}">
      <dsp:nvSpPr>
        <dsp:cNvPr id="0" name=""/>
        <dsp:cNvSpPr/>
      </dsp:nvSpPr>
      <dsp:spPr>
        <a:xfrm>
          <a:off x="2038709"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Template Layout</a:t>
          </a:r>
        </a:p>
      </dsp:txBody>
      <dsp:txXfrm>
        <a:off x="2041192" y="3953344"/>
        <a:ext cx="79817" cy="1828160"/>
      </dsp:txXfrm>
    </dsp:sp>
    <dsp:sp modelId="{3ED49043-29E7-4BBC-86E3-7DC64D882336}">
      <dsp:nvSpPr>
        <dsp:cNvPr id="0" name=""/>
        <dsp:cNvSpPr/>
      </dsp:nvSpPr>
      <dsp:spPr>
        <a:xfrm>
          <a:off x="2127053"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Media Queries</a:t>
          </a:r>
        </a:p>
      </dsp:txBody>
      <dsp:txXfrm>
        <a:off x="2129536" y="3953344"/>
        <a:ext cx="79817" cy="1828160"/>
      </dsp:txXfrm>
    </dsp:sp>
    <dsp:sp modelId="{B8E542A7-D4A3-4AD8-9A5B-37B095D516AC}">
      <dsp:nvSpPr>
        <dsp:cNvPr id="0" name=""/>
        <dsp:cNvSpPr/>
      </dsp:nvSpPr>
      <dsp:spPr>
        <a:xfrm>
          <a:off x="2215397"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Speech</a:t>
          </a:r>
        </a:p>
      </dsp:txBody>
      <dsp:txXfrm>
        <a:off x="2217880" y="3953344"/>
        <a:ext cx="79817" cy="1828160"/>
      </dsp:txXfrm>
    </dsp:sp>
    <dsp:sp modelId="{D1EF3942-842E-42C7-8026-E3C76461607B}">
      <dsp:nvSpPr>
        <dsp:cNvPr id="0" name=""/>
        <dsp:cNvSpPr/>
      </dsp:nvSpPr>
      <dsp:spPr>
        <a:xfrm>
          <a:off x="2303741"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Color</a:t>
          </a:r>
        </a:p>
      </dsp:txBody>
      <dsp:txXfrm>
        <a:off x="2306224" y="3953344"/>
        <a:ext cx="79817" cy="1828160"/>
      </dsp:txXfrm>
    </dsp:sp>
    <dsp:sp modelId="{0C6D0EC8-91E8-4AA8-93C0-4DAA11895146}">
      <dsp:nvSpPr>
        <dsp:cNvPr id="0" name=""/>
        <dsp:cNvSpPr/>
      </dsp:nvSpPr>
      <dsp:spPr>
        <a:xfrm>
          <a:off x="2392085"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Basic User Interface </a:t>
          </a:r>
        </a:p>
      </dsp:txBody>
      <dsp:txXfrm>
        <a:off x="2394568" y="3953344"/>
        <a:ext cx="79817" cy="1828160"/>
      </dsp:txXfrm>
    </dsp:sp>
    <dsp:sp modelId="{4F4A972E-72CA-4840-B62A-B0BADCE79ED7}">
      <dsp:nvSpPr>
        <dsp:cNvPr id="0" name=""/>
        <dsp:cNvSpPr/>
      </dsp:nvSpPr>
      <dsp:spPr>
        <a:xfrm>
          <a:off x="2480430"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Scoping</a:t>
          </a:r>
        </a:p>
      </dsp:txBody>
      <dsp:txXfrm>
        <a:off x="2482913" y="3953344"/>
        <a:ext cx="79817" cy="1828160"/>
      </dsp:txXfrm>
    </dsp:sp>
    <dsp:sp modelId="{BD011702-8998-41EE-B415-A8D2C315083E}">
      <dsp:nvSpPr>
        <dsp:cNvPr id="0" name=""/>
        <dsp:cNvSpPr/>
      </dsp:nvSpPr>
      <dsp:spPr>
        <a:xfrm>
          <a:off x="2568774"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Grid Positioning</a:t>
          </a:r>
        </a:p>
      </dsp:txBody>
      <dsp:txXfrm>
        <a:off x="2571257" y="3953344"/>
        <a:ext cx="79817" cy="1828160"/>
      </dsp:txXfrm>
    </dsp:sp>
    <dsp:sp modelId="{F02FB910-ADDF-4AC5-A639-4073D8E42C11}">
      <dsp:nvSpPr>
        <dsp:cNvPr id="0" name=""/>
        <dsp:cNvSpPr/>
      </dsp:nvSpPr>
      <dsp:spPr>
        <a:xfrm>
          <a:off x="2657118"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Flexible Box Layout</a:t>
          </a:r>
        </a:p>
      </dsp:txBody>
      <dsp:txXfrm>
        <a:off x="2659601" y="3953344"/>
        <a:ext cx="79817" cy="1828160"/>
      </dsp:txXfrm>
    </dsp:sp>
    <dsp:sp modelId="{9A6C5FE0-4D4B-452C-A8B5-F1E8995AC4EC}">
      <dsp:nvSpPr>
        <dsp:cNvPr id="0" name=""/>
        <dsp:cNvSpPr/>
      </dsp:nvSpPr>
      <dsp:spPr>
        <a:xfrm>
          <a:off x="2745462"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Image Values</a:t>
          </a:r>
        </a:p>
      </dsp:txBody>
      <dsp:txXfrm>
        <a:off x="2747945" y="3953344"/>
        <a:ext cx="79817" cy="1828160"/>
      </dsp:txXfrm>
    </dsp:sp>
    <dsp:sp modelId="{B417144F-D885-4962-80C5-215F38407005}">
      <dsp:nvSpPr>
        <dsp:cNvPr id="0" name=""/>
        <dsp:cNvSpPr/>
      </dsp:nvSpPr>
      <dsp:spPr>
        <a:xfrm>
          <a:off x="2833806"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2D Transformations</a:t>
          </a:r>
        </a:p>
      </dsp:txBody>
      <dsp:txXfrm>
        <a:off x="2836289" y="3953344"/>
        <a:ext cx="79817" cy="1828160"/>
      </dsp:txXfrm>
    </dsp:sp>
    <dsp:sp modelId="{0BCA77FD-E046-461D-B327-59DCFFA6FD91}">
      <dsp:nvSpPr>
        <dsp:cNvPr id="0" name=""/>
        <dsp:cNvSpPr/>
      </dsp:nvSpPr>
      <dsp:spPr>
        <a:xfrm>
          <a:off x="2922150"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3D Transformations</a:t>
          </a:r>
        </a:p>
      </dsp:txBody>
      <dsp:txXfrm>
        <a:off x="2924633" y="3953344"/>
        <a:ext cx="79817" cy="1828160"/>
      </dsp:txXfrm>
    </dsp:sp>
    <dsp:sp modelId="{48EF267A-E4C9-4877-83F8-DF0A4487535B}">
      <dsp:nvSpPr>
        <dsp:cNvPr id="0" name=""/>
        <dsp:cNvSpPr/>
      </dsp:nvSpPr>
      <dsp:spPr>
        <a:xfrm>
          <a:off x="3010494"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Transitions</a:t>
          </a:r>
        </a:p>
      </dsp:txBody>
      <dsp:txXfrm>
        <a:off x="3012977" y="3953344"/>
        <a:ext cx="79817" cy="1828160"/>
      </dsp:txXfrm>
    </dsp:sp>
    <dsp:sp modelId="{348ACDFD-AF55-4D90-B42C-2C91A33C3EE1}">
      <dsp:nvSpPr>
        <dsp:cNvPr id="0" name=""/>
        <dsp:cNvSpPr/>
      </dsp:nvSpPr>
      <dsp:spPr>
        <a:xfrm>
          <a:off x="3098838"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SS Animations</a:t>
          </a:r>
        </a:p>
      </dsp:txBody>
      <dsp:txXfrm>
        <a:off x="3101321" y="3953344"/>
        <a:ext cx="79817" cy="1828160"/>
      </dsp:txXfrm>
    </dsp:sp>
    <dsp:sp modelId="{9E8A0697-F9F0-4264-AC3A-FA37DF543CBD}">
      <dsp:nvSpPr>
        <dsp:cNvPr id="0" name=""/>
        <dsp:cNvSpPr/>
      </dsp:nvSpPr>
      <dsp:spPr>
        <a:xfrm>
          <a:off x="3190743" y="1976201"/>
          <a:ext cx="2823448" cy="1833126"/>
        </a:xfrm>
        <a:prstGeom prst="roundRect">
          <a:avLst>
            <a:gd name="adj" fmla="val 10000"/>
          </a:avLst>
        </a:prstGeom>
        <a:solidFill>
          <a:schemeClr val="accent6"/>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a:t>Web </a:t>
          </a:r>
          <a:r>
            <a:rPr lang="en-US" sz="1600" kern="1200" dirty="0" smtClean="0"/>
            <a:t>Apps</a:t>
          </a:r>
          <a:endParaRPr lang="en-US" sz="1600" kern="1200" dirty="0"/>
        </a:p>
      </dsp:txBody>
      <dsp:txXfrm>
        <a:off x="3244433" y="2029891"/>
        <a:ext cx="2716068" cy="1725746"/>
      </dsp:txXfrm>
    </dsp:sp>
    <dsp:sp modelId="{C9764691-399A-46B8-9CBE-03F2950E5EE6}">
      <dsp:nvSpPr>
        <dsp:cNvPr id="0" name=""/>
        <dsp:cNvSpPr/>
      </dsp:nvSpPr>
      <dsp:spPr>
        <a:xfrm>
          <a:off x="3190743"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CORS</a:t>
          </a:r>
        </a:p>
      </dsp:txBody>
      <dsp:txXfrm>
        <a:off x="3193226" y="3953344"/>
        <a:ext cx="79817" cy="1828160"/>
      </dsp:txXfrm>
    </dsp:sp>
    <dsp:sp modelId="{E4D8F296-6C55-4120-9CC3-EECCB900B234}">
      <dsp:nvSpPr>
        <dsp:cNvPr id="0" name=""/>
        <dsp:cNvSpPr/>
      </dsp:nvSpPr>
      <dsp:spPr>
        <a:xfrm>
          <a:off x="3279087"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Element Traversal</a:t>
          </a:r>
        </a:p>
      </dsp:txBody>
      <dsp:txXfrm>
        <a:off x="3281570" y="3953344"/>
        <a:ext cx="79817" cy="1828160"/>
      </dsp:txXfrm>
    </dsp:sp>
    <dsp:sp modelId="{D0B21097-AD73-408B-8FDD-9A39020FFE01}">
      <dsp:nvSpPr>
        <dsp:cNvPr id="0" name=""/>
        <dsp:cNvSpPr/>
      </dsp:nvSpPr>
      <dsp:spPr>
        <a:xfrm>
          <a:off x="3367431"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File API</a:t>
          </a:r>
        </a:p>
      </dsp:txBody>
      <dsp:txXfrm>
        <a:off x="3369914" y="3953344"/>
        <a:ext cx="79817" cy="1828160"/>
      </dsp:txXfrm>
    </dsp:sp>
    <dsp:sp modelId="{5A45FCE3-666C-4E83-A602-3DA331060D34}">
      <dsp:nvSpPr>
        <dsp:cNvPr id="0" name=""/>
        <dsp:cNvSpPr/>
      </dsp:nvSpPr>
      <dsp:spPr>
        <a:xfrm>
          <a:off x="3455775"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Index DB</a:t>
          </a:r>
        </a:p>
      </dsp:txBody>
      <dsp:txXfrm>
        <a:off x="3458258" y="3953344"/>
        <a:ext cx="79817" cy="1828160"/>
      </dsp:txXfrm>
    </dsp:sp>
    <dsp:sp modelId="{12DD6C6F-513C-4012-9B4F-FA36FB27D4FA}">
      <dsp:nvSpPr>
        <dsp:cNvPr id="0" name=""/>
        <dsp:cNvSpPr/>
      </dsp:nvSpPr>
      <dsp:spPr>
        <a:xfrm>
          <a:off x="3544119"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19050" tIns="19050" rIns="19050" bIns="19050" numCol="1" spcCol="1270" anchor="ctr" anchorCtr="0">
          <a:noAutofit/>
          <a:sp3d extrusionH="28000" prstMaterial="matte"/>
        </a:bodyPr>
        <a:lstStyle/>
        <a:p>
          <a:pPr lvl="0" algn="ctr" defTabSz="222250">
            <a:lnSpc>
              <a:spcPct val="90000"/>
            </a:lnSpc>
            <a:spcBef>
              <a:spcPct val="0"/>
            </a:spcBef>
            <a:spcAft>
              <a:spcPct val="35000"/>
            </a:spcAft>
          </a:pPr>
          <a:r>
            <a:rPr lang="en-US" sz="500" kern="1200" dirty="0"/>
            <a:t>Programmable HTTP Caching and Serving</a:t>
          </a:r>
        </a:p>
      </dsp:txBody>
      <dsp:txXfrm>
        <a:off x="3546602" y="3953344"/>
        <a:ext cx="79817" cy="1828160"/>
      </dsp:txXfrm>
    </dsp:sp>
    <dsp:sp modelId="{4EF2B9A6-53D0-4783-8B94-73BB016716C4}">
      <dsp:nvSpPr>
        <dsp:cNvPr id="0" name=""/>
        <dsp:cNvSpPr/>
      </dsp:nvSpPr>
      <dsp:spPr>
        <a:xfrm>
          <a:off x="3632463"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Progress Events</a:t>
          </a:r>
        </a:p>
      </dsp:txBody>
      <dsp:txXfrm>
        <a:off x="3634946" y="3953344"/>
        <a:ext cx="79817" cy="1828160"/>
      </dsp:txXfrm>
    </dsp:sp>
    <dsp:sp modelId="{4B29C9AA-6D44-4047-84B4-7082061779FB}">
      <dsp:nvSpPr>
        <dsp:cNvPr id="0" name=""/>
        <dsp:cNvSpPr/>
      </dsp:nvSpPr>
      <dsp:spPr>
        <a:xfrm>
          <a:off x="3720807"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Selectors API</a:t>
          </a:r>
        </a:p>
      </dsp:txBody>
      <dsp:txXfrm>
        <a:off x="3723290" y="3953344"/>
        <a:ext cx="79817" cy="1828160"/>
      </dsp:txXfrm>
    </dsp:sp>
    <dsp:sp modelId="{8E083001-C032-4940-BBB7-4639385EAAB9}">
      <dsp:nvSpPr>
        <dsp:cNvPr id="0" name=""/>
        <dsp:cNvSpPr/>
      </dsp:nvSpPr>
      <dsp:spPr>
        <a:xfrm>
          <a:off x="3809151"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Selectors API L2</a:t>
          </a:r>
        </a:p>
      </dsp:txBody>
      <dsp:txXfrm>
        <a:off x="3811634" y="3953344"/>
        <a:ext cx="79817" cy="1828160"/>
      </dsp:txXfrm>
    </dsp:sp>
    <dsp:sp modelId="{49BA51C3-9D30-4100-8F31-B6B14D1A800A}">
      <dsp:nvSpPr>
        <dsp:cNvPr id="0" name=""/>
        <dsp:cNvSpPr/>
      </dsp:nvSpPr>
      <dsp:spPr>
        <a:xfrm>
          <a:off x="3897495"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Server-Sent Events</a:t>
          </a:r>
        </a:p>
      </dsp:txBody>
      <dsp:txXfrm>
        <a:off x="3899978" y="3953344"/>
        <a:ext cx="79817" cy="1828160"/>
      </dsp:txXfrm>
    </dsp:sp>
    <dsp:sp modelId="{2678433E-7686-4479-B0F5-4CE0AB8AB526}">
      <dsp:nvSpPr>
        <dsp:cNvPr id="0" name=""/>
        <dsp:cNvSpPr/>
      </dsp:nvSpPr>
      <dsp:spPr>
        <a:xfrm>
          <a:off x="3985839"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Uniform Messaging Policy</a:t>
          </a:r>
        </a:p>
      </dsp:txBody>
      <dsp:txXfrm>
        <a:off x="3988322" y="3953344"/>
        <a:ext cx="79817" cy="1828160"/>
      </dsp:txXfrm>
    </dsp:sp>
    <dsp:sp modelId="{E4D9EA3B-9C88-4EF8-A936-DC96839989A3}">
      <dsp:nvSpPr>
        <dsp:cNvPr id="0" name=""/>
        <dsp:cNvSpPr/>
      </dsp:nvSpPr>
      <dsp:spPr>
        <a:xfrm>
          <a:off x="4074183"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Web DOM Core</a:t>
          </a:r>
        </a:p>
      </dsp:txBody>
      <dsp:txXfrm>
        <a:off x="4076666" y="3953344"/>
        <a:ext cx="79817" cy="1828160"/>
      </dsp:txXfrm>
    </dsp:sp>
    <dsp:sp modelId="{3D71B88A-A5D7-4A20-BDFB-2825F272DFB1}">
      <dsp:nvSpPr>
        <dsp:cNvPr id="0" name=""/>
        <dsp:cNvSpPr/>
      </dsp:nvSpPr>
      <dsp:spPr>
        <a:xfrm>
          <a:off x="4162527"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Web SQL Database</a:t>
          </a:r>
        </a:p>
      </dsp:txBody>
      <dsp:txXfrm>
        <a:off x="4165010" y="3953344"/>
        <a:ext cx="79817" cy="1828160"/>
      </dsp:txXfrm>
    </dsp:sp>
    <dsp:sp modelId="{6DB7A01E-0D13-40A6-9A12-6510D1C6BE60}">
      <dsp:nvSpPr>
        <dsp:cNvPr id="0" name=""/>
        <dsp:cNvSpPr/>
      </dsp:nvSpPr>
      <dsp:spPr>
        <a:xfrm>
          <a:off x="4250871"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Web IDL</a:t>
          </a:r>
        </a:p>
      </dsp:txBody>
      <dsp:txXfrm>
        <a:off x="4253354" y="3953344"/>
        <a:ext cx="79817" cy="1828160"/>
      </dsp:txXfrm>
    </dsp:sp>
    <dsp:sp modelId="{7659B58F-472D-49E2-9DC7-E64F55706520}">
      <dsp:nvSpPr>
        <dsp:cNvPr id="0" name=""/>
        <dsp:cNvSpPr/>
      </dsp:nvSpPr>
      <dsp:spPr>
        <a:xfrm>
          <a:off x="4339215"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Web Sockets API</a:t>
          </a:r>
        </a:p>
      </dsp:txBody>
      <dsp:txXfrm>
        <a:off x="4341698" y="3953344"/>
        <a:ext cx="79817" cy="1828160"/>
      </dsp:txXfrm>
    </dsp:sp>
    <dsp:sp modelId="{981B53A0-BE63-4441-BE65-954B3C83BA2A}">
      <dsp:nvSpPr>
        <dsp:cNvPr id="0" name=""/>
        <dsp:cNvSpPr/>
      </dsp:nvSpPr>
      <dsp:spPr>
        <a:xfrm>
          <a:off x="4427559"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Web Storage</a:t>
          </a:r>
        </a:p>
      </dsp:txBody>
      <dsp:txXfrm>
        <a:off x="4430042" y="3953344"/>
        <a:ext cx="79817" cy="1828160"/>
      </dsp:txXfrm>
    </dsp:sp>
    <dsp:sp modelId="{31EB587D-09D1-42F6-8FA5-E1741080F3E3}">
      <dsp:nvSpPr>
        <dsp:cNvPr id="0" name=""/>
        <dsp:cNvSpPr/>
      </dsp:nvSpPr>
      <dsp:spPr>
        <a:xfrm>
          <a:off x="4515904"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Web Workers</a:t>
          </a:r>
        </a:p>
      </dsp:txBody>
      <dsp:txXfrm>
        <a:off x="4518387" y="3953344"/>
        <a:ext cx="79817" cy="1828160"/>
      </dsp:txXfrm>
    </dsp:sp>
    <dsp:sp modelId="{6A9F2E91-DBBC-4719-80DB-4557AC3C06D5}">
      <dsp:nvSpPr>
        <dsp:cNvPr id="0" name=""/>
        <dsp:cNvSpPr/>
      </dsp:nvSpPr>
      <dsp:spPr>
        <a:xfrm>
          <a:off x="4604248"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XmlHttpRequest</a:t>
          </a:r>
        </a:p>
      </dsp:txBody>
      <dsp:txXfrm>
        <a:off x="4606731" y="3953344"/>
        <a:ext cx="79817" cy="1828160"/>
      </dsp:txXfrm>
    </dsp:sp>
    <dsp:sp modelId="{BA1ACC70-9181-4C6E-B8CC-A153DF4F3F5A}">
      <dsp:nvSpPr>
        <dsp:cNvPr id="0" name=""/>
        <dsp:cNvSpPr/>
      </dsp:nvSpPr>
      <dsp:spPr>
        <a:xfrm>
          <a:off x="4692592"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XmlHttpRequest L2</a:t>
          </a:r>
        </a:p>
      </dsp:txBody>
      <dsp:txXfrm>
        <a:off x="4695075" y="3953344"/>
        <a:ext cx="79817" cy="1828160"/>
      </dsp:txXfrm>
    </dsp:sp>
    <dsp:sp modelId="{DC490CB3-BB1A-4B9E-8AA5-5C705DC7A072}">
      <dsp:nvSpPr>
        <dsp:cNvPr id="0" name=""/>
        <dsp:cNvSpPr/>
      </dsp:nvSpPr>
      <dsp:spPr>
        <a:xfrm>
          <a:off x="4780936"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a:t>DOM L1</a:t>
          </a:r>
        </a:p>
      </dsp:txBody>
      <dsp:txXfrm>
        <a:off x="4783419" y="3953344"/>
        <a:ext cx="79817" cy="1828160"/>
      </dsp:txXfrm>
    </dsp:sp>
    <dsp:sp modelId="{AE0774D0-FB4F-4139-A60F-B607DEF3872B}">
      <dsp:nvSpPr>
        <dsp:cNvPr id="0" name=""/>
        <dsp:cNvSpPr/>
      </dsp:nvSpPr>
      <dsp:spPr>
        <a:xfrm>
          <a:off x="4869280"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2 Core</a:t>
          </a:r>
        </a:p>
      </dsp:txBody>
      <dsp:txXfrm>
        <a:off x="4871763" y="3953344"/>
        <a:ext cx="79817" cy="1828160"/>
      </dsp:txXfrm>
    </dsp:sp>
    <dsp:sp modelId="{FDF48581-FF8C-4786-8361-11578A320553}">
      <dsp:nvSpPr>
        <dsp:cNvPr id="0" name=""/>
        <dsp:cNvSpPr/>
      </dsp:nvSpPr>
      <dsp:spPr>
        <a:xfrm>
          <a:off x="4957624"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2 Views</a:t>
          </a:r>
        </a:p>
      </dsp:txBody>
      <dsp:txXfrm>
        <a:off x="4960107" y="3953344"/>
        <a:ext cx="79817" cy="1828160"/>
      </dsp:txXfrm>
    </dsp:sp>
    <dsp:sp modelId="{B7EC48C7-F961-4987-A7DF-CC315C44A814}">
      <dsp:nvSpPr>
        <dsp:cNvPr id="0" name=""/>
        <dsp:cNvSpPr/>
      </dsp:nvSpPr>
      <dsp:spPr>
        <a:xfrm>
          <a:off x="5045968"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2 Events</a:t>
          </a:r>
        </a:p>
      </dsp:txBody>
      <dsp:txXfrm>
        <a:off x="5048451" y="3953344"/>
        <a:ext cx="79817" cy="1828160"/>
      </dsp:txXfrm>
    </dsp:sp>
    <dsp:sp modelId="{053A91AA-0388-433D-9C03-4FD2BD113810}">
      <dsp:nvSpPr>
        <dsp:cNvPr id="0" name=""/>
        <dsp:cNvSpPr/>
      </dsp:nvSpPr>
      <dsp:spPr>
        <a:xfrm>
          <a:off x="5134312"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2 Style</a:t>
          </a:r>
        </a:p>
      </dsp:txBody>
      <dsp:txXfrm>
        <a:off x="5136795" y="3953344"/>
        <a:ext cx="79817" cy="1828160"/>
      </dsp:txXfrm>
    </dsp:sp>
    <dsp:sp modelId="{3AFACA2F-D9D6-443D-A4D6-71B55DBA4394}">
      <dsp:nvSpPr>
        <dsp:cNvPr id="0" name=""/>
        <dsp:cNvSpPr/>
      </dsp:nvSpPr>
      <dsp:spPr>
        <a:xfrm>
          <a:off x="5222656"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2 Traversal and Range</a:t>
          </a:r>
        </a:p>
      </dsp:txBody>
      <dsp:txXfrm>
        <a:off x="5225139" y="3953344"/>
        <a:ext cx="79817" cy="1828160"/>
      </dsp:txXfrm>
    </dsp:sp>
    <dsp:sp modelId="{0312C5BC-A03D-4651-B2E9-DA6D0FE4A3C1}">
      <dsp:nvSpPr>
        <dsp:cNvPr id="0" name=""/>
        <dsp:cNvSpPr/>
      </dsp:nvSpPr>
      <dsp:spPr>
        <a:xfrm>
          <a:off x="5311000"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2 HTML</a:t>
          </a:r>
        </a:p>
      </dsp:txBody>
      <dsp:txXfrm>
        <a:off x="5313483" y="3953344"/>
        <a:ext cx="79817" cy="1828160"/>
      </dsp:txXfrm>
    </dsp:sp>
    <dsp:sp modelId="{074B8C88-A226-404A-B889-51399F7D6F0E}">
      <dsp:nvSpPr>
        <dsp:cNvPr id="0" name=""/>
        <dsp:cNvSpPr/>
      </dsp:nvSpPr>
      <dsp:spPr>
        <a:xfrm>
          <a:off x="5399344"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3 Core</a:t>
          </a:r>
        </a:p>
      </dsp:txBody>
      <dsp:txXfrm>
        <a:off x="5401827" y="3953344"/>
        <a:ext cx="79817" cy="1828160"/>
      </dsp:txXfrm>
    </dsp:sp>
    <dsp:sp modelId="{B7327A70-9E6A-451A-81B9-AE500F196E75}">
      <dsp:nvSpPr>
        <dsp:cNvPr id="0" name=""/>
        <dsp:cNvSpPr/>
      </dsp:nvSpPr>
      <dsp:spPr>
        <a:xfrm>
          <a:off x="5487688"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3 Events</a:t>
          </a:r>
        </a:p>
      </dsp:txBody>
      <dsp:txXfrm>
        <a:off x="5490171" y="3953344"/>
        <a:ext cx="79817" cy="1828160"/>
      </dsp:txXfrm>
    </dsp:sp>
    <dsp:sp modelId="{E3CB98F3-BC66-45DA-AF15-1D22B0730B22}">
      <dsp:nvSpPr>
        <dsp:cNvPr id="0" name=""/>
        <dsp:cNvSpPr/>
      </dsp:nvSpPr>
      <dsp:spPr>
        <a:xfrm>
          <a:off x="5576032"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3 Load and Save</a:t>
          </a:r>
        </a:p>
      </dsp:txBody>
      <dsp:txXfrm>
        <a:off x="5578515" y="3953344"/>
        <a:ext cx="79817" cy="1828160"/>
      </dsp:txXfrm>
    </dsp:sp>
    <dsp:sp modelId="{60A889B8-7D30-4152-9152-F7FCD8D338BC}">
      <dsp:nvSpPr>
        <dsp:cNvPr id="0" name=""/>
        <dsp:cNvSpPr/>
      </dsp:nvSpPr>
      <dsp:spPr>
        <a:xfrm>
          <a:off x="5664376"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3 Validation</a:t>
          </a:r>
        </a:p>
      </dsp:txBody>
      <dsp:txXfrm>
        <a:off x="5666859" y="3953344"/>
        <a:ext cx="79817" cy="1828160"/>
      </dsp:txXfrm>
    </dsp:sp>
    <dsp:sp modelId="{E9898476-B872-4E96-8E6B-4639DC1E1EAF}">
      <dsp:nvSpPr>
        <dsp:cNvPr id="0" name=""/>
        <dsp:cNvSpPr/>
      </dsp:nvSpPr>
      <dsp:spPr>
        <a:xfrm>
          <a:off x="5752720"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DOM L3 XPath</a:t>
          </a:r>
        </a:p>
      </dsp:txBody>
      <dsp:txXfrm>
        <a:off x="5755203" y="3953344"/>
        <a:ext cx="79817" cy="1828160"/>
      </dsp:txXfrm>
    </dsp:sp>
    <dsp:sp modelId="{E91E3A8B-A820-4DED-B5BD-AE0A3542B640}">
      <dsp:nvSpPr>
        <dsp:cNvPr id="0" name=""/>
        <dsp:cNvSpPr/>
      </dsp:nvSpPr>
      <dsp:spPr>
        <a:xfrm>
          <a:off x="5841064"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a:t>DOM L3 Views and Formatting</a:t>
          </a:r>
        </a:p>
      </dsp:txBody>
      <dsp:txXfrm>
        <a:off x="5843547" y="3953344"/>
        <a:ext cx="79817" cy="1828160"/>
      </dsp:txXfrm>
    </dsp:sp>
    <dsp:sp modelId="{87B1145D-0AF4-4271-A5D9-C6D439DE7279}">
      <dsp:nvSpPr>
        <dsp:cNvPr id="0" name=""/>
        <dsp:cNvSpPr/>
      </dsp:nvSpPr>
      <dsp:spPr>
        <a:xfrm>
          <a:off x="5929408"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a:t>DOM L3 Abstract Schemas</a:t>
          </a:r>
        </a:p>
      </dsp:txBody>
      <dsp:txXfrm>
        <a:off x="5931891" y="3953344"/>
        <a:ext cx="79817" cy="1828160"/>
      </dsp:txXfrm>
    </dsp:sp>
    <dsp:sp modelId="{300CF3CC-CDD8-4957-8CBF-61F332586F7B}">
      <dsp:nvSpPr>
        <dsp:cNvPr id="0" name=""/>
        <dsp:cNvSpPr/>
      </dsp:nvSpPr>
      <dsp:spPr>
        <a:xfrm>
          <a:off x="6021313" y="1976201"/>
          <a:ext cx="1056567" cy="1833126"/>
        </a:xfrm>
        <a:prstGeom prst="roundRect">
          <a:avLst>
            <a:gd name="adj" fmla="val 10000"/>
          </a:avLst>
        </a:prstGeom>
        <a:solidFill>
          <a:schemeClr val="accent6"/>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t>SVG</a:t>
          </a:r>
          <a:endParaRPr lang="en-US" sz="1600" kern="1200" dirty="0"/>
        </a:p>
      </dsp:txBody>
      <dsp:txXfrm>
        <a:off x="6052259" y="2007147"/>
        <a:ext cx="994675" cy="1771234"/>
      </dsp:txXfrm>
    </dsp:sp>
    <dsp:sp modelId="{D8D2ED38-F748-4289-8E77-4DDF823BBBBC}">
      <dsp:nvSpPr>
        <dsp:cNvPr id="0" name=""/>
        <dsp:cNvSpPr/>
      </dsp:nvSpPr>
      <dsp:spPr>
        <a:xfrm>
          <a:off x="6021313"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dirty="0"/>
            <a:t>Document Structure</a:t>
          </a:r>
        </a:p>
      </dsp:txBody>
      <dsp:txXfrm>
        <a:off x="6023796" y="3953344"/>
        <a:ext cx="79817" cy="1828160"/>
      </dsp:txXfrm>
    </dsp:sp>
    <dsp:sp modelId="{5E0FD4F7-1302-4407-AFB8-D56C902F2C36}">
      <dsp:nvSpPr>
        <dsp:cNvPr id="0" name=""/>
        <dsp:cNvSpPr/>
      </dsp:nvSpPr>
      <dsp:spPr>
        <a:xfrm>
          <a:off x="6109657"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dirty="0"/>
            <a:t>Basic Shapes</a:t>
          </a:r>
        </a:p>
      </dsp:txBody>
      <dsp:txXfrm>
        <a:off x="6112140" y="3953344"/>
        <a:ext cx="79817" cy="1828160"/>
      </dsp:txXfrm>
    </dsp:sp>
    <dsp:sp modelId="{EA98DA56-01FE-46F1-BA8C-DEF2B5550464}">
      <dsp:nvSpPr>
        <dsp:cNvPr id="0" name=""/>
        <dsp:cNvSpPr/>
      </dsp:nvSpPr>
      <dsp:spPr>
        <a:xfrm>
          <a:off x="6198001"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a:t>Paths</a:t>
          </a:r>
        </a:p>
      </dsp:txBody>
      <dsp:txXfrm>
        <a:off x="6200484" y="3953344"/>
        <a:ext cx="79817" cy="1828160"/>
      </dsp:txXfrm>
    </dsp:sp>
    <dsp:sp modelId="{3B9FA98F-AF95-4778-8296-1491745B0820}">
      <dsp:nvSpPr>
        <dsp:cNvPr id="0" name=""/>
        <dsp:cNvSpPr/>
      </dsp:nvSpPr>
      <dsp:spPr>
        <a:xfrm>
          <a:off x="6286345"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a:t>Text</a:t>
          </a:r>
        </a:p>
      </dsp:txBody>
      <dsp:txXfrm>
        <a:off x="6288828" y="3953344"/>
        <a:ext cx="79817" cy="1828160"/>
      </dsp:txXfrm>
    </dsp:sp>
    <dsp:sp modelId="{1B8731FA-0D0A-4796-AAEF-97EDAD5E2921}">
      <dsp:nvSpPr>
        <dsp:cNvPr id="0" name=""/>
        <dsp:cNvSpPr/>
      </dsp:nvSpPr>
      <dsp:spPr>
        <a:xfrm>
          <a:off x="6374689"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a:t>Transforms</a:t>
          </a:r>
        </a:p>
      </dsp:txBody>
      <dsp:txXfrm>
        <a:off x="6377172" y="3953344"/>
        <a:ext cx="79817" cy="1828160"/>
      </dsp:txXfrm>
    </dsp:sp>
    <dsp:sp modelId="{AE505F8C-57CF-4639-84BE-2661CF2D12D0}">
      <dsp:nvSpPr>
        <dsp:cNvPr id="0" name=""/>
        <dsp:cNvSpPr/>
      </dsp:nvSpPr>
      <dsp:spPr>
        <a:xfrm>
          <a:off x="6463034"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dirty="0"/>
            <a:t>Painting, Filling, Color</a:t>
          </a:r>
        </a:p>
      </dsp:txBody>
      <dsp:txXfrm>
        <a:off x="6465517" y="3953344"/>
        <a:ext cx="79817" cy="1828160"/>
      </dsp:txXfrm>
    </dsp:sp>
    <dsp:sp modelId="{9EEA6381-5036-433B-8952-E5A592021CA2}">
      <dsp:nvSpPr>
        <dsp:cNvPr id="0" name=""/>
        <dsp:cNvSpPr/>
      </dsp:nvSpPr>
      <dsp:spPr>
        <a:xfrm>
          <a:off x="6551378"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a:t>Scripting</a:t>
          </a:r>
        </a:p>
      </dsp:txBody>
      <dsp:txXfrm>
        <a:off x="6553861" y="3953344"/>
        <a:ext cx="79817" cy="1828160"/>
      </dsp:txXfrm>
    </dsp:sp>
    <dsp:sp modelId="{99E93896-50C5-414F-90C5-CB46261E8052}">
      <dsp:nvSpPr>
        <dsp:cNvPr id="0" name=""/>
        <dsp:cNvSpPr/>
      </dsp:nvSpPr>
      <dsp:spPr>
        <a:xfrm>
          <a:off x="6639722"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a:t>Styling</a:t>
          </a:r>
        </a:p>
      </dsp:txBody>
      <dsp:txXfrm>
        <a:off x="6642205" y="3953344"/>
        <a:ext cx="79817" cy="1828160"/>
      </dsp:txXfrm>
    </dsp:sp>
    <dsp:sp modelId="{E9A72AB3-AEC9-40AC-B626-3B45EDD407B3}">
      <dsp:nvSpPr>
        <dsp:cNvPr id="0" name=""/>
        <dsp:cNvSpPr/>
      </dsp:nvSpPr>
      <dsp:spPr>
        <a:xfrm>
          <a:off x="6728066"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a:t>Gradients and Patterns</a:t>
          </a:r>
        </a:p>
      </dsp:txBody>
      <dsp:txXfrm>
        <a:off x="6730549" y="3953344"/>
        <a:ext cx="79817" cy="1828160"/>
      </dsp:txXfrm>
    </dsp:sp>
    <dsp:sp modelId="{BC30F1AC-DEE0-424F-B63E-6AFEE0DBE781}">
      <dsp:nvSpPr>
        <dsp:cNvPr id="0" name=""/>
        <dsp:cNvSpPr/>
      </dsp:nvSpPr>
      <dsp:spPr>
        <a:xfrm>
          <a:off x="6816410"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a:t>SMIL</a:t>
          </a:r>
        </a:p>
      </dsp:txBody>
      <dsp:txXfrm>
        <a:off x="6818893" y="3953344"/>
        <a:ext cx="79817" cy="1828160"/>
      </dsp:txXfrm>
    </dsp:sp>
    <dsp:sp modelId="{1E52C614-1246-4A76-95E3-A2B48CD86314}">
      <dsp:nvSpPr>
        <dsp:cNvPr id="0" name=""/>
        <dsp:cNvSpPr/>
      </dsp:nvSpPr>
      <dsp:spPr>
        <a:xfrm>
          <a:off x="6904754"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a:t>Fonts</a:t>
          </a:r>
        </a:p>
      </dsp:txBody>
      <dsp:txXfrm>
        <a:off x="6907237" y="3953344"/>
        <a:ext cx="79817" cy="1828160"/>
      </dsp:txXfrm>
    </dsp:sp>
    <dsp:sp modelId="{9D132697-72A0-4576-A6CD-3FADA3569E4E}">
      <dsp:nvSpPr>
        <dsp:cNvPr id="0" name=""/>
        <dsp:cNvSpPr/>
      </dsp:nvSpPr>
      <dsp:spPr>
        <a:xfrm>
          <a:off x="6993098"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i="1" kern="1200" dirty="0"/>
            <a:t>Filters</a:t>
          </a:r>
        </a:p>
      </dsp:txBody>
      <dsp:txXfrm>
        <a:off x="6995581" y="3953344"/>
        <a:ext cx="79817" cy="1828160"/>
      </dsp:txXfrm>
    </dsp:sp>
    <dsp:sp modelId="{DD170533-D0CE-402B-946C-BC803D35F61B}">
      <dsp:nvSpPr>
        <dsp:cNvPr id="0" name=""/>
        <dsp:cNvSpPr/>
      </dsp:nvSpPr>
      <dsp:spPr>
        <a:xfrm>
          <a:off x="7085003" y="1976201"/>
          <a:ext cx="84783" cy="1833126"/>
        </a:xfrm>
        <a:prstGeom prst="roundRect">
          <a:avLst>
            <a:gd name="adj" fmla="val 10000"/>
          </a:avLst>
        </a:prstGeom>
        <a:solidFill>
          <a:schemeClr val="accent6"/>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34290" tIns="34290" rIns="34290" bIns="34290" numCol="1" spcCol="1270" anchor="ctr" anchorCtr="0">
          <a:noAutofit/>
          <a:sp3d extrusionH="28000" prstMaterial="matte"/>
        </a:bodyPr>
        <a:lstStyle/>
        <a:p>
          <a:pPr lvl="0" algn="ctr" defTabSz="400050">
            <a:lnSpc>
              <a:spcPct val="90000"/>
            </a:lnSpc>
            <a:spcBef>
              <a:spcPct val="0"/>
            </a:spcBef>
            <a:spcAft>
              <a:spcPct val="35000"/>
            </a:spcAft>
          </a:pPr>
          <a:r>
            <a:rPr lang="en-US" sz="900" kern="1200" dirty="0" err="1" smtClean="0"/>
            <a:t>Geolocation</a:t>
          </a:r>
          <a:endParaRPr lang="en-US" sz="900" kern="1200" dirty="0"/>
        </a:p>
      </dsp:txBody>
      <dsp:txXfrm>
        <a:off x="7087486" y="1978684"/>
        <a:ext cx="79817" cy="1828160"/>
      </dsp:txXfrm>
    </dsp:sp>
    <dsp:sp modelId="{19962120-483D-4E36-A2FD-EC5110E6A6D9}">
      <dsp:nvSpPr>
        <dsp:cNvPr id="0" name=""/>
        <dsp:cNvSpPr/>
      </dsp:nvSpPr>
      <dsp:spPr>
        <a:xfrm>
          <a:off x="7085003" y="3950861"/>
          <a:ext cx="84783" cy="1833126"/>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a:t>Geolocation API</a:t>
          </a:r>
        </a:p>
      </dsp:txBody>
      <dsp:txXfrm>
        <a:off x="7087486" y="3953344"/>
        <a:ext cx="79817" cy="1828160"/>
      </dsp:txXfrm>
    </dsp:sp>
    <dsp:sp modelId="{95D62823-7A03-4916-8E59-B61169A1FBD1}">
      <dsp:nvSpPr>
        <dsp:cNvPr id="0" name=""/>
        <dsp:cNvSpPr/>
      </dsp:nvSpPr>
      <dsp:spPr>
        <a:xfrm>
          <a:off x="7184029" y="1541"/>
          <a:ext cx="795994" cy="1833126"/>
        </a:xfrm>
        <a:prstGeom prst="roundRect">
          <a:avLst>
            <a:gd name="adj" fmla="val 10000"/>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sp3d extrusionH="28000" prstMaterial="matte"/>
        </a:bodyPr>
        <a:lstStyle/>
        <a:p>
          <a:pPr lvl="0" algn="ctr" defTabSz="800100">
            <a:lnSpc>
              <a:spcPct val="90000"/>
            </a:lnSpc>
            <a:spcBef>
              <a:spcPct val="0"/>
            </a:spcBef>
            <a:spcAft>
              <a:spcPct val="35000"/>
            </a:spcAft>
          </a:pPr>
          <a:r>
            <a:rPr lang="en-US" sz="1800" kern="1200" dirty="0" smtClean="0"/>
            <a:t>ECMA</a:t>
          </a:r>
          <a:endParaRPr lang="en-US" sz="2200" kern="1200" dirty="0"/>
        </a:p>
      </dsp:txBody>
      <dsp:txXfrm>
        <a:off x="7207343" y="24855"/>
        <a:ext cx="749366" cy="1786498"/>
      </dsp:txXfrm>
    </dsp:sp>
    <dsp:sp modelId="{A364EF17-8BC8-4609-9DC0-EFA95BC4700C}">
      <dsp:nvSpPr>
        <dsp:cNvPr id="0" name=""/>
        <dsp:cNvSpPr/>
      </dsp:nvSpPr>
      <dsp:spPr>
        <a:xfrm>
          <a:off x="7184418" y="1976201"/>
          <a:ext cx="795216" cy="1833126"/>
        </a:xfrm>
        <a:prstGeom prst="roundRect">
          <a:avLst>
            <a:gd name="adj" fmla="val 10000"/>
          </a:avLst>
        </a:prstGeom>
        <a:solidFill>
          <a:schemeClr val="accent6"/>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t>ECMA Script  262</a:t>
          </a:r>
          <a:endParaRPr lang="en-US" sz="1600" kern="1200" dirty="0"/>
        </a:p>
      </dsp:txBody>
      <dsp:txXfrm>
        <a:off x="7207709" y="1999492"/>
        <a:ext cx="748634" cy="1786544"/>
      </dsp:txXfrm>
    </dsp:sp>
    <dsp:sp modelId="{05762FCE-10A1-4AD7-AE14-FD2A404DDF2B}">
      <dsp:nvSpPr>
        <dsp:cNvPr id="0" name=""/>
        <dsp:cNvSpPr/>
      </dsp:nvSpPr>
      <dsp:spPr>
        <a:xfrm>
          <a:off x="7185194" y="3950861"/>
          <a:ext cx="793664" cy="1837911"/>
        </a:xfrm>
        <a:prstGeom prst="roundRect">
          <a:avLst>
            <a:gd name="adj" fmla="val 10000"/>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vert" wrap="square" lIns="26670" tIns="26670" rIns="26670" bIns="26670" numCol="1" spcCol="1270" anchor="ctr" anchorCtr="0">
          <a:noAutofit/>
          <a:sp3d extrusionH="28000" prstMaterial="matte"/>
        </a:bodyPr>
        <a:lstStyle/>
        <a:p>
          <a:pPr lvl="0" algn="ctr" defTabSz="311150">
            <a:lnSpc>
              <a:spcPct val="90000"/>
            </a:lnSpc>
            <a:spcBef>
              <a:spcPct val="0"/>
            </a:spcBef>
            <a:spcAft>
              <a:spcPct val="35000"/>
            </a:spcAft>
          </a:pPr>
          <a:r>
            <a:rPr lang="en-US" sz="700" kern="1200" dirty="0" err="1"/>
            <a:t>ECMAScript</a:t>
          </a:r>
          <a:r>
            <a:rPr lang="en-US" sz="700" kern="1200" dirty="0"/>
            <a:t>  262</a:t>
          </a:r>
        </a:p>
      </dsp:txBody>
      <dsp:txXfrm>
        <a:off x="7208440" y="3974107"/>
        <a:ext cx="747172" cy="17914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B1760-FE79-4E58-94A1-7332DA1DA030}">
      <dsp:nvSpPr>
        <dsp:cNvPr id="0" name=""/>
        <dsp:cNvSpPr/>
      </dsp:nvSpPr>
      <dsp:spPr>
        <a:xfrm rot="5400000">
          <a:off x="7218262" y="-3256710"/>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smtClean="0"/>
            <a:t>used to identify the page or application's introduction or navigational aids</a:t>
          </a:r>
          <a:endParaRPr lang="en-US" sz="1000" b="1" kern="1200" dirty="0"/>
        </a:p>
      </dsp:txBody>
      <dsp:txXfrm rot="-5400000">
        <a:off x="3915759" y="63188"/>
        <a:ext cx="6943953" cy="321550"/>
      </dsp:txXfrm>
    </dsp:sp>
    <dsp:sp modelId="{77A5E743-958C-4173-AA2D-0B67877B360F}">
      <dsp:nvSpPr>
        <dsp:cNvPr id="0" name=""/>
        <dsp:cNvSpPr/>
      </dsp:nvSpPr>
      <dsp:spPr>
        <a:xfrm>
          <a:off x="0" y="1251"/>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header&gt;</a:t>
          </a:r>
          <a:endParaRPr lang="en-US" sz="2100" b="1" kern="1200" dirty="0"/>
        </a:p>
      </dsp:txBody>
      <dsp:txXfrm>
        <a:off x="21744" y="22995"/>
        <a:ext cx="3872270" cy="401937"/>
      </dsp:txXfrm>
    </dsp:sp>
    <dsp:sp modelId="{577AAC7C-5D90-4A62-B471-DFA3A16BF3C7}">
      <dsp:nvSpPr>
        <dsp:cNvPr id="0" name=""/>
        <dsp:cNvSpPr/>
      </dsp:nvSpPr>
      <dsp:spPr>
        <a:xfrm rot="5400000">
          <a:off x="7218262" y="-2789013"/>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smtClean="0"/>
            <a:t>used to group heading elements</a:t>
          </a:r>
          <a:endParaRPr lang="en-US" sz="1000" b="1" kern="1200" dirty="0"/>
        </a:p>
      </dsp:txBody>
      <dsp:txXfrm rot="-5400000">
        <a:off x="3915759" y="530885"/>
        <a:ext cx="6943953" cy="321550"/>
      </dsp:txXfrm>
    </dsp:sp>
    <dsp:sp modelId="{A450DEF2-DE7A-46C1-9215-6CC0A093A1CF}">
      <dsp:nvSpPr>
        <dsp:cNvPr id="0" name=""/>
        <dsp:cNvSpPr/>
      </dsp:nvSpPr>
      <dsp:spPr>
        <a:xfrm>
          <a:off x="0" y="468947"/>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a:t>
          </a:r>
          <a:r>
            <a:rPr lang="en-US" sz="2100" b="1" kern="1200" dirty="0" err="1" smtClean="0"/>
            <a:t>hgroup</a:t>
          </a:r>
          <a:r>
            <a:rPr lang="en-US" sz="2100" b="1" kern="1200" dirty="0" smtClean="0"/>
            <a:t>&gt;</a:t>
          </a:r>
          <a:endParaRPr lang="en-US" sz="2100" b="1" kern="1200" dirty="0"/>
        </a:p>
      </dsp:txBody>
      <dsp:txXfrm>
        <a:off x="21744" y="490691"/>
        <a:ext cx="3872270" cy="401937"/>
      </dsp:txXfrm>
    </dsp:sp>
    <dsp:sp modelId="{920676F4-4FBF-4B02-A4C6-7D49D3DEBFD7}">
      <dsp:nvSpPr>
        <dsp:cNvPr id="0" name=""/>
        <dsp:cNvSpPr/>
      </dsp:nvSpPr>
      <dsp:spPr>
        <a:xfrm rot="5400000">
          <a:off x="7218262" y="-2321317"/>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smtClean="0"/>
            <a:t>represents a section of a document that links to other documents or to parts within the document itself</a:t>
          </a:r>
          <a:endParaRPr lang="en-US" sz="1000" b="1" kern="1200" dirty="0"/>
        </a:p>
      </dsp:txBody>
      <dsp:txXfrm rot="-5400000">
        <a:off x="3915759" y="998581"/>
        <a:ext cx="6943953" cy="321550"/>
      </dsp:txXfrm>
    </dsp:sp>
    <dsp:sp modelId="{2EBC16BF-8FCF-4B59-BD74-AE5E96BFD4EA}">
      <dsp:nvSpPr>
        <dsp:cNvPr id="0" name=""/>
        <dsp:cNvSpPr/>
      </dsp:nvSpPr>
      <dsp:spPr>
        <a:xfrm>
          <a:off x="0" y="936644"/>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a:t>
          </a:r>
          <a:r>
            <a:rPr lang="en-US" sz="2100" b="1" kern="1200" dirty="0" err="1" smtClean="0"/>
            <a:t>nav</a:t>
          </a:r>
          <a:r>
            <a:rPr lang="en-US" sz="2100" b="1" kern="1200" dirty="0" smtClean="0"/>
            <a:t>&gt;</a:t>
          </a:r>
          <a:endParaRPr lang="en-US" sz="2100" b="1" kern="1200" dirty="0"/>
        </a:p>
      </dsp:txBody>
      <dsp:txXfrm>
        <a:off x="21744" y="958388"/>
        <a:ext cx="3872270" cy="401937"/>
      </dsp:txXfrm>
    </dsp:sp>
    <dsp:sp modelId="{EFC90822-BA14-4EFB-B285-60684108F6DA}">
      <dsp:nvSpPr>
        <dsp:cNvPr id="0" name=""/>
        <dsp:cNvSpPr/>
      </dsp:nvSpPr>
      <dsp:spPr>
        <a:xfrm rot="5400000">
          <a:off x="7218262" y="-1853620"/>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smtClean="0"/>
            <a:t>represents content that is tangentially related to the content that forms the main textual flow of a document</a:t>
          </a:r>
          <a:endParaRPr lang="en-US" sz="1000" b="1" kern="1200" dirty="0"/>
        </a:p>
      </dsp:txBody>
      <dsp:txXfrm rot="-5400000">
        <a:off x="3915759" y="1466278"/>
        <a:ext cx="6943953" cy="321550"/>
      </dsp:txXfrm>
    </dsp:sp>
    <dsp:sp modelId="{39BA48D9-D502-4375-AB6C-FFF3F35F97FA}">
      <dsp:nvSpPr>
        <dsp:cNvPr id="0" name=""/>
        <dsp:cNvSpPr/>
      </dsp:nvSpPr>
      <dsp:spPr>
        <a:xfrm>
          <a:off x="0" y="1404341"/>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aside&gt;</a:t>
          </a:r>
          <a:endParaRPr lang="en-US" sz="2100" b="1" kern="1200" dirty="0"/>
        </a:p>
      </dsp:txBody>
      <dsp:txXfrm>
        <a:off x="21744" y="1426085"/>
        <a:ext cx="3872270" cy="401937"/>
      </dsp:txXfrm>
    </dsp:sp>
    <dsp:sp modelId="{D76D672E-13D0-457C-8CF0-FB74A6F31882}">
      <dsp:nvSpPr>
        <dsp:cNvPr id="0" name=""/>
        <dsp:cNvSpPr/>
      </dsp:nvSpPr>
      <dsp:spPr>
        <a:xfrm rot="5400000">
          <a:off x="7218262" y="-1385923"/>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smtClean="0"/>
            <a:t>represents the footer for the nearest ancestor sectioning  content or sectioning root element</a:t>
          </a:r>
          <a:endParaRPr lang="en-US" sz="1000" b="1" kern="1200" dirty="0"/>
        </a:p>
      </dsp:txBody>
      <dsp:txXfrm rot="-5400000">
        <a:off x="3915759" y="1933975"/>
        <a:ext cx="6943953" cy="321550"/>
      </dsp:txXfrm>
    </dsp:sp>
    <dsp:sp modelId="{15B10A13-B4CA-4EBB-9B01-7805DDC6D06C}">
      <dsp:nvSpPr>
        <dsp:cNvPr id="0" name=""/>
        <dsp:cNvSpPr/>
      </dsp:nvSpPr>
      <dsp:spPr>
        <a:xfrm>
          <a:off x="0" y="1872037"/>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footer&gt;</a:t>
          </a:r>
          <a:endParaRPr lang="en-US" sz="2100" b="1" kern="1200" dirty="0"/>
        </a:p>
      </dsp:txBody>
      <dsp:txXfrm>
        <a:off x="21744" y="1893781"/>
        <a:ext cx="3872270" cy="401937"/>
      </dsp:txXfrm>
    </dsp:sp>
    <dsp:sp modelId="{C57B189F-8BA0-4BBC-B12E-350A20BDCACD}">
      <dsp:nvSpPr>
        <dsp:cNvPr id="0" name=""/>
        <dsp:cNvSpPr/>
      </dsp:nvSpPr>
      <dsp:spPr>
        <a:xfrm rot="5400000">
          <a:off x="7218262" y="-918227"/>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smtClean="0"/>
            <a:t>represents </a:t>
          </a:r>
          <a:r>
            <a:rPr lang="en-US" sz="1000" b="1" kern="1200" dirty="0" smtClean="0"/>
            <a:t>a section of content that forms an independent part of a document or site</a:t>
          </a:r>
          <a:endParaRPr lang="en-US" sz="1000" b="1" kern="1200" dirty="0"/>
        </a:p>
      </dsp:txBody>
      <dsp:txXfrm rot="-5400000">
        <a:off x="3915759" y="2401671"/>
        <a:ext cx="6943953" cy="321550"/>
      </dsp:txXfrm>
    </dsp:sp>
    <dsp:sp modelId="{CB962098-79A3-4711-96CE-1E16E46482A5}">
      <dsp:nvSpPr>
        <dsp:cNvPr id="0" name=""/>
        <dsp:cNvSpPr/>
      </dsp:nvSpPr>
      <dsp:spPr>
        <a:xfrm>
          <a:off x="0" y="2339734"/>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article&gt;</a:t>
          </a:r>
          <a:endParaRPr lang="en-US" sz="2100" b="1" kern="1200" dirty="0"/>
        </a:p>
      </dsp:txBody>
      <dsp:txXfrm>
        <a:off x="21744" y="2361478"/>
        <a:ext cx="3872270" cy="401937"/>
      </dsp:txXfrm>
    </dsp:sp>
    <dsp:sp modelId="{85164EA7-0B86-46E1-91AE-9CE0606FB78B}">
      <dsp:nvSpPr>
        <dsp:cNvPr id="0" name=""/>
        <dsp:cNvSpPr/>
      </dsp:nvSpPr>
      <dsp:spPr>
        <a:xfrm rot="5400000">
          <a:off x="7218262" y="-450530"/>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smtClean="0"/>
            <a:t>used to designate generic sections of a document</a:t>
          </a:r>
          <a:endParaRPr lang="en-US" sz="1000" b="1" kern="1200" dirty="0"/>
        </a:p>
      </dsp:txBody>
      <dsp:txXfrm rot="-5400000">
        <a:off x="3915759" y="2869368"/>
        <a:ext cx="6943953" cy="321550"/>
      </dsp:txXfrm>
    </dsp:sp>
    <dsp:sp modelId="{368FD56D-4719-44A8-B68F-276507EF821D}">
      <dsp:nvSpPr>
        <dsp:cNvPr id="0" name=""/>
        <dsp:cNvSpPr/>
      </dsp:nvSpPr>
      <dsp:spPr>
        <a:xfrm>
          <a:off x="0" y="2807430"/>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section&gt;</a:t>
          </a:r>
          <a:endParaRPr lang="en-US" sz="2100" b="1" kern="1200" dirty="0"/>
        </a:p>
      </dsp:txBody>
      <dsp:txXfrm>
        <a:off x="21744" y="2829174"/>
        <a:ext cx="3872270" cy="401937"/>
      </dsp:txXfrm>
    </dsp:sp>
    <dsp:sp modelId="{FAD9A24D-E383-4F60-8209-C3C60EBA33F4}">
      <dsp:nvSpPr>
        <dsp:cNvPr id="0" name=""/>
        <dsp:cNvSpPr/>
      </dsp:nvSpPr>
      <dsp:spPr>
        <a:xfrm rot="5400000">
          <a:off x="7218262" y="17166"/>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smtClean="0"/>
            <a:t>used </a:t>
          </a:r>
          <a:r>
            <a:rPr lang="en-US" sz="1000" b="1" kern="1200" dirty="0" smtClean="0"/>
            <a:t>to enclose a figure like an illustration, diagram, or photo</a:t>
          </a:r>
          <a:endParaRPr lang="en-US" sz="1000" b="1" kern="1200" dirty="0"/>
        </a:p>
      </dsp:txBody>
      <dsp:txXfrm rot="-5400000">
        <a:off x="3915759" y="3337065"/>
        <a:ext cx="6943953" cy="321550"/>
      </dsp:txXfrm>
    </dsp:sp>
    <dsp:sp modelId="{9894B8FF-ADD7-4A6E-B91F-F0DBBFF7394C}">
      <dsp:nvSpPr>
        <dsp:cNvPr id="0" name=""/>
        <dsp:cNvSpPr/>
      </dsp:nvSpPr>
      <dsp:spPr>
        <a:xfrm>
          <a:off x="0" y="3275127"/>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figure&gt;</a:t>
          </a:r>
          <a:endParaRPr lang="en-US" sz="2100" b="1" kern="1200" dirty="0"/>
        </a:p>
      </dsp:txBody>
      <dsp:txXfrm>
        <a:off x="21744" y="3296871"/>
        <a:ext cx="3872270" cy="401937"/>
      </dsp:txXfrm>
    </dsp:sp>
    <dsp:sp modelId="{09636334-A3B7-466C-ABE6-9C891D8F6F41}">
      <dsp:nvSpPr>
        <dsp:cNvPr id="0" name=""/>
        <dsp:cNvSpPr/>
      </dsp:nvSpPr>
      <dsp:spPr>
        <a:xfrm rot="5400000">
          <a:off x="7218262" y="484862"/>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smtClean="0"/>
            <a:t>used to identify a figure's caption</a:t>
          </a:r>
          <a:endParaRPr lang="en-US" sz="1000" b="1" kern="1200" dirty="0"/>
        </a:p>
      </dsp:txBody>
      <dsp:txXfrm rot="-5400000">
        <a:off x="3915759" y="3804761"/>
        <a:ext cx="6943953" cy="321550"/>
      </dsp:txXfrm>
    </dsp:sp>
    <dsp:sp modelId="{C4FA6FA6-7169-493D-A1AC-E4E38D967FC4}">
      <dsp:nvSpPr>
        <dsp:cNvPr id="0" name=""/>
        <dsp:cNvSpPr/>
      </dsp:nvSpPr>
      <dsp:spPr>
        <a:xfrm>
          <a:off x="0" y="3742824"/>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a:t>
          </a:r>
          <a:r>
            <a:rPr lang="en-US" sz="2100" b="1" kern="1200" dirty="0" err="1" smtClean="0"/>
            <a:t>figcaption</a:t>
          </a:r>
          <a:r>
            <a:rPr lang="en-US" sz="2100" b="1" kern="1200" dirty="0" smtClean="0"/>
            <a:t>&gt;</a:t>
          </a:r>
          <a:endParaRPr lang="en-US" sz="2100" b="1" kern="1200" dirty="0"/>
        </a:p>
      </dsp:txBody>
      <dsp:txXfrm>
        <a:off x="21744" y="3764568"/>
        <a:ext cx="3872270" cy="401937"/>
      </dsp:txXfrm>
    </dsp:sp>
    <dsp:sp modelId="{547304AA-98FE-4BA6-8591-FEAE1817266A}">
      <dsp:nvSpPr>
        <dsp:cNvPr id="0" name=""/>
        <dsp:cNvSpPr/>
      </dsp:nvSpPr>
      <dsp:spPr>
        <a:xfrm rot="5400000">
          <a:off x="7218262" y="952559"/>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smtClean="0"/>
            <a:t>represents a video player displayed to allow user control over video playback and a viewport to view a video</a:t>
          </a:r>
          <a:endParaRPr lang="en-US" sz="1000" b="1" kern="1200" dirty="0"/>
        </a:p>
      </dsp:txBody>
      <dsp:txXfrm rot="-5400000">
        <a:off x="3915759" y="4272458"/>
        <a:ext cx="6943953" cy="321550"/>
      </dsp:txXfrm>
    </dsp:sp>
    <dsp:sp modelId="{F012AB81-491C-4A0D-9F4D-A4E0730E2C62}">
      <dsp:nvSpPr>
        <dsp:cNvPr id="0" name=""/>
        <dsp:cNvSpPr/>
      </dsp:nvSpPr>
      <dsp:spPr>
        <a:xfrm>
          <a:off x="0" y="4210520"/>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video&gt;</a:t>
          </a:r>
          <a:endParaRPr lang="en-US" sz="2100" b="1" kern="1200" dirty="0"/>
        </a:p>
      </dsp:txBody>
      <dsp:txXfrm>
        <a:off x="21744" y="4232264"/>
        <a:ext cx="3872270" cy="401937"/>
      </dsp:txXfrm>
    </dsp:sp>
    <dsp:sp modelId="{C0EE4C50-55DF-44A0-8DD0-8BA4BCC58315}">
      <dsp:nvSpPr>
        <dsp:cNvPr id="0" name=""/>
        <dsp:cNvSpPr/>
      </dsp:nvSpPr>
      <dsp:spPr>
        <a:xfrm rot="5400000">
          <a:off x="7218262" y="1420255"/>
          <a:ext cx="356340" cy="6961348"/>
        </a:xfrm>
        <a:prstGeom prst="round2Same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19050" rIns="38100" bIns="19050" numCol="1" spcCol="1270" anchor="ctr" anchorCtr="0">
          <a:noAutofit/>
        </a:bodyPr>
        <a:lstStyle/>
        <a:p>
          <a:pPr marL="57150" lvl="1" indent="-57150" algn="l" defTabSz="444500">
            <a:lnSpc>
              <a:spcPct val="90000"/>
            </a:lnSpc>
            <a:spcBef>
              <a:spcPct val="0"/>
            </a:spcBef>
            <a:spcAft>
              <a:spcPct val="15000"/>
            </a:spcAft>
            <a:buChar char="••"/>
          </a:pPr>
          <a:r>
            <a:rPr lang="en-US" sz="1000" b="1" kern="1200" dirty="0" smtClean="0"/>
            <a:t>represents an audio player displayed to allow user control over audio playback</a:t>
          </a:r>
          <a:endParaRPr lang="en-US" sz="1000" b="1" kern="1200" dirty="0"/>
        </a:p>
      </dsp:txBody>
      <dsp:txXfrm rot="-5400000">
        <a:off x="3915759" y="4740154"/>
        <a:ext cx="6943953" cy="321550"/>
      </dsp:txXfrm>
    </dsp:sp>
    <dsp:sp modelId="{F40E0709-3F9A-4E56-BAE8-5F6A57125A89}">
      <dsp:nvSpPr>
        <dsp:cNvPr id="0" name=""/>
        <dsp:cNvSpPr/>
      </dsp:nvSpPr>
      <dsp:spPr>
        <a:xfrm>
          <a:off x="0" y="4678217"/>
          <a:ext cx="3915758" cy="44542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lt;audio&gt;</a:t>
          </a:r>
          <a:endParaRPr lang="en-US" sz="2100" b="1" kern="1200" dirty="0"/>
        </a:p>
      </dsp:txBody>
      <dsp:txXfrm>
        <a:off x="21744" y="4699961"/>
        <a:ext cx="3872270" cy="40193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9F73B-0E11-4105-A4E8-5E85E3D1E396}">
      <dsp:nvSpPr>
        <dsp:cNvPr id="0" name=""/>
        <dsp:cNvSpPr/>
      </dsp:nvSpPr>
      <dsp:spPr>
        <a:xfrm>
          <a:off x="3539202" y="1824"/>
          <a:ext cx="1047477" cy="6808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Basic Shapes</a:t>
          </a:r>
          <a:endParaRPr lang="en-US" sz="1200" kern="1200" dirty="0"/>
        </a:p>
      </dsp:txBody>
      <dsp:txXfrm>
        <a:off x="3572439" y="35061"/>
        <a:ext cx="981003" cy="614386"/>
      </dsp:txXfrm>
    </dsp:sp>
    <dsp:sp modelId="{C236B38C-8F74-4F61-82C2-68EB5DA3CF58}">
      <dsp:nvSpPr>
        <dsp:cNvPr id="0" name=""/>
        <dsp:cNvSpPr/>
      </dsp:nvSpPr>
      <dsp:spPr>
        <a:xfrm>
          <a:off x="1696567" y="342254"/>
          <a:ext cx="4732747" cy="4732747"/>
        </a:xfrm>
        <a:custGeom>
          <a:avLst/>
          <a:gdLst/>
          <a:ahLst/>
          <a:cxnLst/>
          <a:rect l="0" t="0" r="0" b="0"/>
          <a:pathLst>
            <a:path>
              <a:moveTo>
                <a:pt x="2897685" y="60417"/>
              </a:moveTo>
              <a:arcTo wR="2366373" hR="2366373" stAng="16978500" swAng="1111186"/>
            </a:path>
          </a:pathLst>
        </a:custGeom>
        <a:noFill/>
        <a:ln w="9525"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091C1B2-6999-4048-8452-D7883955BB02}">
      <dsp:nvSpPr>
        <dsp:cNvPr id="0" name=""/>
        <dsp:cNvSpPr/>
      </dsp:nvSpPr>
      <dsp:spPr>
        <a:xfrm>
          <a:off x="5212481" y="694919"/>
          <a:ext cx="1047477" cy="6808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Paths</a:t>
          </a:r>
          <a:endParaRPr lang="en-US" sz="1200" kern="1200" dirty="0"/>
        </a:p>
      </dsp:txBody>
      <dsp:txXfrm>
        <a:off x="5245718" y="728156"/>
        <a:ext cx="981003" cy="614386"/>
      </dsp:txXfrm>
    </dsp:sp>
    <dsp:sp modelId="{BE49D767-BBC8-4B5C-8DC1-D73B4154C26D}">
      <dsp:nvSpPr>
        <dsp:cNvPr id="0" name=""/>
        <dsp:cNvSpPr/>
      </dsp:nvSpPr>
      <dsp:spPr>
        <a:xfrm>
          <a:off x="1696567" y="342254"/>
          <a:ext cx="4732747" cy="4732747"/>
        </a:xfrm>
        <a:custGeom>
          <a:avLst/>
          <a:gdLst/>
          <a:ahLst/>
          <a:cxnLst/>
          <a:rect l="0" t="0" r="0" b="0"/>
          <a:pathLst>
            <a:path>
              <a:moveTo>
                <a:pt x="4327662" y="1042338"/>
              </a:moveTo>
              <a:arcTo wR="2366373" hR="2366373" stAng="19558640" swAng="1529607"/>
            </a:path>
          </a:pathLst>
        </a:custGeom>
        <a:noFill/>
        <a:ln w="9525"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E7C8C494-3EF8-4CE6-A2A5-615446E06503}">
      <dsp:nvSpPr>
        <dsp:cNvPr id="0" name=""/>
        <dsp:cNvSpPr/>
      </dsp:nvSpPr>
      <dsp:spPr>
        <a:xfrm>
          <a:off x="5905576" y="2368197"/>
          <a:ext cx="1047477" cy="6808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Text</a:t>
          </a:r>
          <a:endParaRPr lang="en-US" sz="1200" kern="1200" dirty="0"/>
        </a:p>
      </dsp:txBody>
      <dsp:txXfrm>
        <a:off x="5938813" y="2401434"/>
        <a:ext cx="981003" cy="614386"/>
      </dsp:txXfrm>
    </dsp:sp>
    <dsp:sp modelId="{42042689-2E60-4DB6-9911-F737DE6B77D0}">
      <dsp:nvSpPr>
        <dsp:cNvPr id="0" name=""/>
        <dsp:cNvSpPr/>
      </dsp:nvSpPr>
      <dsp:spPr>
        <a:xfrm>
          <a:off x="1696567" y="342254"/>
          <a:ext cx="4732747" cy="4732747"/>
        </a:xfrm>
        <a:custGeom>
          <a:avLst/>
          <a:gdLst/>
          <a:ahLst/>
          <a:cxnLst/>
          <a:rect l="0" t="0" r="0" b="0"/>
          <a:pathLst>
            <a:path>
              <a:moveTo>
                <a:pt x="4706576" y="2717339"/>
              </a:moveTo>
              <a:arcTo wR="2366373" hR="2366373" stAng="511753" swAng="1529607"/>
            </a:path>
          </a:pathLst>
        </a:custGeom>
        <a:noFill/>
        <a:ln w="9525"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CEB1B709-EEC6-4EAC-9FF4-CEC2F16D37A2}">
      <dsp:nvSpPr>
        <dsp:cNvPr id="0" name=""/>
        <dsp:cNvSpPr/>
      </dsp:nvSpPr>
      <dsp:spPr>
        <a:xfrm>
          <a:off x="5212481" y="4041476"/>
          <a:ext cx="1047477" cy="6808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Transforms</a:t>
          </a:r>
          <a:endParaRPr lang="en-US" sz="1200" kern="1200" dirty="0"/>
        </a:p>
      </dsp:txBody>
      <dsp:txXfrm>
        <a:off x="5245718" y="4074713"/>
        <a:ext cx="981003" cy="614386"/>
      </dsp:txXfrm>
    </dsp:sp>
    <dsp:sp modelId="{68E096B9-1A9F-473C-BE87-29292250EA38}">
      <dsp:nvSpPr>
        <dsp:cNvPr id="0" name=""/>
        <dsp:cNvSpPr/>
      </dsp:nvSpPr>
      <dsp:spPr>
        <a:xfrm>
          <a:off x="1696567" y="342254"/>
          <a:ext cx="4732747" cy="4732747"/>
        </a:xfrm>
        <a:custGeom>
          <a:avLst/>
          <a:gdLst/>
          <a:ahLst/>
          <a:cxnLst/>
          <a:rect l="0" t="0" r="0" b="0"/>
          <a:pathLst>
            <a:path>
              <a:moveTo>
                <a:pt x="3602615" y="4384152"/>
              </a:moveTo>
              <a:arcTo wR="2366373" hR="2366373" stAng="3510315" swAng="1111186"/>
            </a:path>
          </a:pathLst>
        </a:custGeom>
        <a:noFill/>
        <a:ln w="9525"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6A8FFBF8-5C15-49B7-B4B4-B229AF80C2CE}">
      <dsp:nvSpPr>
        <dsp:cNvPr id="0" name=""/>
        <dsp:cNvSpPr/>
      </dsp:nvSpPr>
      <dsp:spPr>
        <a:xfrm>
          <a:off x="3539202" y="4734571"/>
          <a:ext cx="1047477" cy="6808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Painting, Filling, Color</a:t>
          </a:r>
          <a:endParaRPr lang="en-US" sz="1200" kern="1200" dirty="0"/>
        </a:p>
      </dsp:txBody>
      <dsp:txXfrm>
        <a:off x="3572439" y="4767808"/>
        <a:ext cx="981003" cy="614386"/>
      </dsp:txXfrm>
    </dsp:sp>
    <dsp:sp modelId="{47717E81-E989-4AC1-96BA-A8267F4A7360}">
      <dsp:nvSpPr>
        <dsp:cNvPr id="0" name=""/>
        <dsp:cNvSpPr/>
      </dsp:nvSpPr>
      <dsp:spPr>
        <a:xfrm>
          <a:off x="1696567" y="342254"/>
          <a:ext cx="4732747" cy="4732747"/>
        </a:xfrm>
        <a:custGeom>
          <a:avLst/>
          <a:gdLst/>
          <a:ahLst/>
          <a:cxnLst/>
          <a:rect l="0" t="0" r="0" b="0"/>
          <a:pathLst>
            <a:path>
              <a:moveTo>
                <a:pt x="1835061" y="4672329"/>
              </a:moveTo>
              <a:arcTo wR="2366373" hR="2366373" stAng="6178500" swAng="1111186"/>
            </a:path>
          </a:pathLst>
        </a:custGeom>
        <a:noFill/>
        <a:ln w="9525"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0FDEA3E-4DEA-43C1-A150-065143C229F7}">
      <dsp:nvSpPr>
        <dsp:cNvPr id="0" name=""/>
        <dsp:cNvSpPr/>
      </dsp:nvSpPr>
      <dsp:spPr>
        <a:xfrm>
          <a:off x="1865924" y="4041476"/>
          <a:ext cx="1047477" cy="6808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Scripting</a:t>
          </a:r>
          <a:endParaRPr lang="en-US" sz="1200" kern="1200" dirty="0"/>
        </a:p>
      </dsp:txBody>
      <dsp:txXfrm>
        <a:off x="1899161" y="4074713"/>
        <a:ext cx="981003" cy="614386"/>
      </dsp:txXfrm>
    </dsp:sp>
    <dsp:sp modelId="{BA4695AD-7D75-427F-A598-D7E20FE5FF09}">
      <dsp:nvSpPr>
        <dsp:cNvPr id="0" name=""/>
        <dsp:cNvSpPr/>
      </dsp:nvSpPr>
      <dsp:spPr>
        <a:xfrm>
          <a:off x="1696567" y="342254"/>
          <a:ext cx="4732747" cy="4732747"/>
        </a:xfrm>
        <a:custGeom>
          <a:avLst/>
          <a:gdLst/>
          <a:ahLst/>
          <a:cxnLst/>
          <a:rect l="0" t="0" r="0" b="0"/>
          <a:pathLst>
            <a:path>
              <a:moveTo>
                <a:pt x="405084" y="3690408"/>
              </a:moveTo>
              <a:arcTo wR="2366373" hR="2366373" stAng="8758640" swAng="1529607"/>
            </a:path>
          </a:pathLst>
        </a:custGeom>
        <a:noFill/>
        <a:ln w="9525"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3DADA31-4831-454E-8875-D9B69FFA64D8}">
      <dsp:nvSpPr>
        <dsp:cNvPr id="0" name=""/>
        <dsp:cNvSpPr/>
      </dsp:nvSpPr>
      <dsp:spPr>
        <a:xfrm>
          <a:off x="1172829" y="2368197"/>
          <a:ext cx="1047477" cy="6808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Styling </a:t>
          </a:r>
          <a:endParaRPr lang="en-US" sz="1200" kern="1200" dirty="0"/>
        </a:p>
      </dsp:txBody>
      <dsp:txXfrm>
        <a:off x="1206066" y="2401434"/>
        <a:ext cx="981003" cy="614386"/>
      </dsp:txXfrm>
    </dsp:sp>
    <dsp:sp modelId="{3B0E661A-AAF1-40ED-A43F-C397C65EF5F3}">
      <dsp:nvSpPr>
        <dsp:cNvPr id="0" name=""/>
        <dsp:cNvSpPr/>
      </dsp:nvSpPr>
      <dsp:spPr>
        <a:xfrm>
          <a:off x="1696567" y="342254"/>
          <a:ext cx="4732747" cy="4732747"/>
        </a:xfrm>
        <a:custGeom>
          <a:avLst/>
          <a:gdLst/>
          <a:ahLst/>
          <a:cxnLst/>
          <a:rect l="0" t="0" r="0" b="0"/>
          <a:pathLst>
            <a:path>
              <a:moveTo>
                <a:pt x="26171" y="2015407"/>
              </a:moveTo>
              <a:arcTo wR="2366373" hR="2366373" stAng="11311753" swAng="1529607"/>
            </a:path>
          </a:pathLst>
        </a:custGeom>
        <a:noFill/>
        <a:ln w="9525"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56CDC3E-03C5-489F-96DB-8418EEF352C3}">
      <dsp:nvSpPr>
        <dsp:cNvPr id="0" name=""/>
        <dsp:cNvSpPr/>
      </dsp:nvSpPr>
      <dsp:spPr>
        <a:xfrm>
          <a:off x="1865924" y="694919"/>
          <a:ext cx="1047477" cy="6808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Gradients, Patterns</a:t>
          </a:r>
          <a:endParaRPr lang="en-US" sz="1200" kern="1200" dirty="0"/>
        </a:p>
      </dsp:txBody>
      <dsp:txXfrm>
        <a:off x="1899161" y="728156"/>
        <a:ext cx="981003" cy="614386"/>
      </dsp:txXfrm>
    </dsp:sp>
    <dsp:sp modelId="{9B4AA404-5AC4-4813-9DB0-A70A6D1DBC3B}">
      <dsp:nvSpPr>
        <dsp:cNvPr id="0" name=""/>
        <dsp:cNvSpPr/>
      </dsp:nvSpPr>
      <dsp:spPr>
        <a:xfrm>
          <a:off x="1696567" y="342254"/>
          <a:ext cx="4732747" cy="4732747"/>
        </a:xfrm>
        <a:custGeom>
          <a:avLst/>
          <a:gdLst/>
          <a:ahLst/>
          <a:cxnLst/>
          <a:rect l="0" t="0" r="0" b="0"/>
          <a:pathLst>
            <a:path>
              <a:moveTo>
                <a:pt x="1130131" y="348595"/>
              </a:moveTo>
              <a:arcTo wR="2366373" hR="2366373" stAng="14310315" swAng="1111186"/>
            </a:path>
          </a:pathLst>
        </a:custGeom>
        <a:noFill/>
        <a:ln w="9525"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3/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3/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2</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3</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44</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blogs.msdn.com/IE" TargetMode="External"/><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hyperlink" Target="http://www.html5labs.com/" TargetMode="External"/><Relationship Id="rId5" Type="http://schemas.openxmlformats.org/officeDocument/2006/relationships/notesSlide" Target="../notesSlides/notesSlide8.xml"/><Relationship Id="rId10" Type="http://schemas.openxmlformats.org/officeDocument/2006/relationships/hyperlink" Target="http://www.ietestdrive.com/" TargetMode="External"/><Relationship Id="rId4" Type="http://schemas.openxmlformats.org/officeDocument/2006/relationships/slideLayout" Target="../slideLayouts/slideLayout2.xml"/><Relationship Id="rId9" Type="http://schemas.openxmlformats.org/officeDocument/2006/relationships/hyperlink" Target="http://www.beautyoftheweb.com/" TargetMode="Externa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hyperlink" Target="http://www.w3.org/html/wg" TargetMode="External"/><Relationship Id="rId3" Type="http://schemas.openxmlformats.org/officeDocument/2006/relationships/tags" Target="../tags/tag22.xml"/><Relationship Id="rId7" Type="http://schemas.openxmlformats.org/officeDocument/2006/relationships/image" Target="../media/image9.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ietestdrive.com/" TargetMode="External"/><Relationship Id="rId5" Type="http://schemas.openxmlformats.org/officeDocument/2006/relationships/notesSlide" Target="../notesSlides/notesSlide13.xml"/><Relationship Id="rId10" Type="http://schemas.openxmlformats.org/officeDocument/2006/relationships/hyperlink" Target="http://blogs.msdn.com/IE" TargetMode="External"/><Relationship Id="rId4" Type="http://schemas.openxmlformats.org/officeDocument/2006/relationships/slideLayout" Target="../slideLayouts/slideLayout2.xml"/><Relationship Id="rId9" Type="http://schemas.openxmlformats.org/officeDocument/2006/relationships/hyperlink" Target="http://www.beautyoftheweb.com/" TargetMode="Externa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3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5.xml"/><Relationship Id="rId7" Type="http://schemas.openxmlformats.org/officeDocument/2006/relationships/oleObject" Target="../embeddings/oleObject15.bin"/><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notesSlide" Target="../notesSlides/notesSlide15.xml"/><Relationship Id="rId5" Type="http://schemas.openxmlformats.org/officeDocument/2006/relationships/slideLayout" Target="../slideLayouts/slideLayout3.xml"/><Relationship Id="rId4" Type="http://schemas.openxmlformats.org/officeDocument/2006/relationships/tags" Target="../tags/tag26.xml"/><Relationship Id="rId9" Type="http://schemas.openxmlformats.org/officeDocument/2006/relationships/hyperlink" Target="http://trends.builtwith.com/javascript/jQuery"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api.jquery.com/" TargetMode="External"/><Relationship Id="rId3" Type="http://schemas.openxmlformats.org/officeDocument/2006/relationships/tags" Target="../tags/tag28.xml"/><Relationship Id="rId7" Type="http://schemas.openxmlformats.org/officeDocument/2006/relationships/oleObject" Target="../embeddings/oleObject16.bin"/><Relationship Id="rId12" Type="http://schemas.openxmlformats.org/officeDocument/2006/relationships/image" Target="../media/image1.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notesSlide" Target="../notesSlides/notesSlide16.xml"/><Relationship Id="rId11" Type="http://schemas.openxmlformats.org/officeDocument/2006/relationships/hyperlink" Target="http://forum.jquery.com/" TargetMode="External"/><Relationship Id="rId5" Type="http://schemas.openxmlformats.org/officeDocument/2006/relationships/slideLayout" Target="../slideLayouts/slideLayout2.xml"/><Relationship Id="rId15" Type="http://schemas.openxmlformats.org/officeDocument/2006/relationships/hyperlink" Target="http://jqueryui.com/" TargetMode="External"/><Relationship Id="rId10" Type="http://schemas.openxmlformats.org/officeDocument/2006/relationships/hyperlink" Target="http://docs.jquery.com/" TargetMode="External"/><Relationship Id="rId4" Type="http://schemas.openxmlformats.org/officeDocument/2006/relationships/tags" Target="../tags/tag29.xml"/><Relationship Id="rId9" Type="http://schemas.openxmlformats.org/officeDocument/2006/relationships/hyperlink" Target="http://code.jquery.com/" TargetMode="External"/><Relationship Id="rId14" Type="http://schemas.openxmlformats.org/officeDocument/2006/relationships/hyperlink" Target="http://meetups.jquery.com/" TargetMode="External"/></Relationships>
</file>

<file path=ppt/slides/_rels/slide3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9.emf"/><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9.emf"/><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8.xml"/><Relationship Id="rId4"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5.xml"/><Relationship Id="rId7" Type="http://schemas.openxmlformats.org/officeDocument/2006/relationships/oleObject" Target="../embeddings/oleObject19.bin"/><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36.xml"/></Relationships>
</file>

<file path=ppt/slides/_rels/slide4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9.emf"/><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0.xml"/><Relationship Id="rId4"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tags" Target="../tags/tag43.xml"/><Relationship Id="rId11" Type="http://schemas.openxmlformats.org/officeDocument/2006/relationships/image" Target="../media/image9.emf"/><Relationship Id="rId5" Type="http://schemas.openxmlformats.org/officeDocument/2006/relationships/tags" Target="../tags/tag42.xml"/><Relationship Id="rId10" Type="http://schemas.openxmlformats.org/officeDocument/2006/relationships/oleObject" Target="../embeddings/oleObject21.bin"/><Relationship Id="rId4" Type="http://schemas.openxmlformats.org/officeDocument/2006/relationships/tags" Target="../tags/tag41.xml"/><Relationship Id="rId9" Type="http://schemas.openxmlformats.org/officeDocument/2006/relationships/notesSlide" Target="../notesSlides/notesSlide21.xml"/></Relationships>
</file>

<file path=ppt/slides/_rels/slide43.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46.xml"/><Relationship Id="rId7" Type="http://schemas.openxmlformats.org/officeDocument/2006/relationships/image" Target="../media/image9.emf"/><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7.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notesSlide" Target="../notesSlides/notesSlide2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xml"/><Relationship Id="rId7" Type="http://schemas.openxmlformats.org/officeDocument/2006/relationships/image" Target="../media/image9.emf"/><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Creating Rich HTML 5 Experiences</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931253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5269135"/>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News</a:t>
            </a:r>
            <a:r>
              <a:rPr lang="en-US" dirty="0" smtClean="0"/>
              <a:t/>
            </a:r>
            <a:br>
              <a:rPr lang="en-US" dirty="0" smtClean="0"/>
            </a:br>
            <a:r>
              <a:rPr lang="en-US" sz="3200" dirty="0">
                <a:latin typeface="+mn-lt"/>
                <a:hlinkClick r:id="rId8"/>
              </a:rPr>
              <a:t>http://</a:t>
            </a:r>
            <a:r>
              <a:rPr lang="en-US" sz="3200" dirty="0" smtClean="0">
                <a:latin typeface="+mn-lt"/>
                <a:hlinkClick r:id="rId8"/>
              </a:rPr>
              <a:t>blogs.msdn.com/IE</a:t>
            </a:r>
            <a:endParaRPr lang="en-US" sz="3200" dirty="0" smtClean="0">
              <a:latin typeface="+mn-lt"/>
            </a:endParaRPr>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Demos</a:t>
            </a:r>
            <a:r>
              <a:rPr lang="en-US" sz="3200" dirty="0"/>
              <a:t/>
            </a:r>
            <a:br>
              <a:rPr lang="en-US" sz="3200" dirty="0"/>
            </a:br>
            <a:r>
              <a:rPr lang="en-US" sz="3200" dirty="0">
                <a:hlinkClick r:id="rId9"/>
              </a:rPr>
              <a:t>http://</a:t>
            </a:r>
            <a:r>
              <a:rPr lang="en-US" sz="3200" dirty="0" smtClean="0">
                <a:hlinkClick r:id="rId9"/>
              </a:rPr>
              <a:t>www.beautyoftheweb.com</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Technical </a:t>
            </a:r>
            <a:r>
              <a:rPr lang="en-US" sz="4400" dirty="0">
                <a:ln w="3175">
                  <a:noFill/>
                </a:ln>
                <a:gradFill flip="none" rotWithShape="1">
                  <a:gsLst>
                    <a:gs pos="0">
                      <a:srgbClr val="595959"/>
                    </a:gs>
                    <a:gs pos="86000">
                      <a:srgbClr val="595959"/>
                    </a:gs>
                  </a:gsLst>
                  <a:lin ang="5400000" scaled="0"/>
                  <a:tileRect/>
                </a:gradFill>
                <a:cs typeface="Arial" charset="0"/>
              </a:rPr>
              <a:t>Samples</a:t>
            </a:r>
            <a:r>
              <a:rPr lang="en-US" sz="3200" dirty="0"/>
              <a:t/>
            </a:r>
            <a:br>
              <a:rPr lang="en-US" sz="3200" dirty="0"/>
            </a:br>
            <a:r>
              <a:rPr lang="en-US" sz="3200" dirty="0">
                <a:hlinkClick r:id="rId10"/>
              </a:rPr>
              <a:t>http://</a:t>
            </a:r>
            <a:r>
              <a:rPr lang="en-US" sz="3200" dirty="0" smtClean="0">
                <a:hlinkClick r:id="rId10"/>
              </a:rPr>
              <a:t>www.ietestdrive.com</a:t>
            </a:r>
            <a:endParaRPr lang="en-US" sz="3200" dirty="0" smtClean="0"/>
          </a:p>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HTML5 </a:t>
            </a:r>
            <a:r>
              <a:rPr lang="en-US" sz="4400" dirty="0">
                <a:ln w="3175">
                  <a:noFill/>
                </a:ln>
                <a:gradFill flip="none" rotWithShape="1">
                  <a:gsLst>
                    <a:gs pos="0">
                      <a:srgbClr val="595959"/>
                    </a:gs>
                    <a:gs pos="86000">
                      <a:srgbClr val="595959"/>
                    </a:gs>
                  </a:gsLst>
                  <a:lin ang="5400000" scaled="0"/>
                  <a:tileRect/>
                </a:gradFill>
                <a:cs typeface="Arial" charset="0"/>
              </a:rPr>
              <a:t>Labs</a:t>
            </a:r>
            <a:r>
              <a:rPr lang="en-US" sz="3200" dirty="0"/>
              <a:t/>
            </a:r>
            <a:br>
              <a:rPr lang="en-US" sz="3200" dirty="0"/>
            </a:br>
            <a:r>
              <a:rPr lang="en-US" sz="3200" dirty="0">
                <a:hlinkClick r:id="rId11"/>
              </a:rPr>
              <a:t>http://</a:t>
            </a:r>
            <a:r>
              <a:rPr lang="en-US" sz="3200" dirty="0" smtClean="0">
                <a:hlinkClick r:id="rId11"/>
              </a:rPr>
              <a:t>www.html5labs.com</a:t>
            </a:r>
            <a:endParaRPr lang="en-US" sz="3200" dirty="0" smtClean="0"/>
          </a:p>
          <a:p>
            <a:pPr>
              <a:spcAft>
                <a:spcPts val="1200"/>
              </a:spcAft>
            </a:pPr>
            <a:endParaRPr lang="en-US" sz="3200" dirty="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79997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5 Deep Dive</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p of HTML5</a:t>
            </a:r>
            <a:endParaRPr lang="en-US" dirty="0"/>
          </a:p>
        </p:txBody>
      </p:sp>
      <p:graphicFrame>
        <p:nvGraphicFramePr>
          <p:cNvPr id="4" name="Content Placeholder 3"/>
          <p:cNvGraphicFramePr>
            <a:graphicFrameLocks/>
          </p:cNvGraphicFramePr>
          <p:nvPr>
            <p:extLst>
              <p:ext uri="{D42A27DB-BD31-4B8C-83A1-F6EECF244321}">
                <p14:modId xmlns:p14="http://schemas.microsoft.com/office/powerpoint/2010/main" val="33506471"/>
              </p:ext>
            </p:extLst>
          </p:nvPr>
        </p:nvGraphicFramePr>
        <p:xfrm>
          <a:off x="1958183" y="-74441"/>
          <a:ext cx="7983260" cy="57903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18531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6A0B5389-43C3-4675-BE54-52D2CCE3D5E5}"/>
                                            </p:graphicEl>
                                          </p:spTgt>
                                        </p:tgtEl>
                                        <p:attrNameLst>
                                          <p:attrName>style.visibility</p:attrName>
                                        </p:attrNameLst>
                                      </p:cBhvr>
                                      <p:to>
                                        <p:strVal val="visible"/>
                                      </p:to>
                                    </p:set>
                                    <p:animEffect transition="in" filter="fade">
                                      <p:cBhvr>
                                        <p:cTn id="7" dur="500"/>
                                        <p:tgtEl>
                                          <p:spTgt spid="4">
                                            <p:graphicEl>
                                              <a:dgm id="{6A0B5389-43C3-4675-BE54-52D2CCE3D5E5}"/>
                                            </p:graphic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graphicEl>
                                              <a:dgm id="{95D62823-7A03-4916-8E59-B61169A1FBD1}"/>
                                            </p:graphicEl>
                                          </p:spTgt>
                                        </p:tgtEl>
                                        <p:attrNameLst>
                                          <p:attrName>style.visibility</p:attrName>
                                        </p:attrNameLst>
                                      </p:cBhvr>
                                      <p:to>
                                        <p:strVal val="visible"/>
                                      </p:to>
                                    </p:set>
                                    <p:animEffect transition="in" filter="fade">
                                      <p:cBhvr>
                                        <p:cTn id="11" dur="500"/>
                                        <p:tgtEl>
                                          <p:spTgt spid="4">
                                            <p:graphicEl>
                                              <a:dgm id="{95D62823-7A03-4916-8E59-B61169A1FBD1}"/>
                                            </p:graphic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4">
                                            <p:graphicEl>
                                              <a:dgm id="{7525039D-75EC-4B94-990A-03D130D61B9F}"/>
                                            </p:graphicEl>
                                          </p:spTgt>
                                        </p:tgtEl>
                                        <p:attrNameLst>
                                          <p:attrName>style.visibility</p:attrName>
                                        </p:attrNameLst>
                                      </p:cBhvr>
                                      <p:to>
                                        <p:strVal val="visible"/>
                                      </p:to>
                                    </p:set>
                                    <p:animEffect transition="in" filter="fade">
                                      <p:cBhvr>
                                        <p:cTn id="16" dur="500"/>
                                        <p:tgtEl>
                                          <p:spTgt spid="4">
                                            <p:graphicEl>
                                              <a:dgm id="{7525039D-75EC-4B94-990A-03D130D61B9F}"/>
                                            </p:graphicEl>
                                          </p:spTgt>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
                                            <p:graphicEl>
                                              <a:dgm id="{C55AC12B-0CD1-4BF4-9381-43DE229D9EE8}"/>
                                            </p:graphicEl>
                                          </p:spTgt>
                                        </p:tgtEl>
                                        <p:attrNameLst>
                                          <p:attrName>style.visibility</p:attrName>
                                        </p:attrNameLst>
                                      </p:cBhvr>
                                      <p:to>
                                        <p:strVal val="visible"/>
                                      </p:to>
                                    </p:set>
                                    <p:animEffect transition="in" filter="fade">
                                      <p:cBhvr>
                                        <p:cTn id="20" dur="500"/>
                                        <p:tgtEl>
                                          <p:spTgt spid="4">
                                            <p:graphicEl>
                                              <a:dgm id="{C55AC12B-0CD1-4BF4-9381-43DE229D9EE8}"/>
                                            </p:graphicEl>
                                          </p:spTgt>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4">
                                            <p:graphicEl>
                                              <a:dgm id="{9E8A0697-F9F0-4264-AC3A-FA37DF543CBD}"/>
                                            </p:graphicEl>
                                          </p:spTgt>
                                        </p:tgtEl>
                                        <p:attrNameLst>
                                          <p:attrName>style.visibility</p:attrName>
                                        </p:attrNameLst>
                                      </p:cBhvr>
                                      <p:to>
                                        <p:strVal val="visible"/>
                                      </p:to>
                                    </p:set>
                                    <p:animEffect transition="in" filter="fade">
                                      <p:cBhvr>
                                        <p:cTn id="24" dur="500"/>
                                        <p:tgtEl>
                                          <p:spTgt spid="4">
                                            <p:graphicEl>
                                              <a:dgm id="{9E8A0697-F9F0-4264-AC3A-FA37DF543CBD}"/>
                                            </p:graphicEl>
                                          </p:spTgt>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4">
                                            <p:graphicEl>
                                              <a:dgm id="{300CF3CC-CDD8-4957-8CBF-61F332586F7B}"/>
                                            </p:graphicEl>
                                          </p:spTgt>
                                        </p:tgtEl>
                                        <p:attrNameLst>
                                          <p:attrName>style.visibility</p:attrName>
                                        </p:attrNameLst>
                                      </p:cBhvr>
                                      <p:to>
                                        <p:strVal val="visible"/>
                                      </p:to>
                                    </p:set>
                                    <p:animEffect transition="in" filter="fade">
                                      <p:cBhvr>
                                        <p:cTn id="28" dur="500"/>
                                        <p:tgtEl>
                                          <p:spTgt spid="4">
                                            <p:graphicEl>
                                              <a:dgm id="{300CF3CC-CDD8-4957-8CBF-61F332586F7B}"/>
                                            </p:graphicEl>
                                          </p:spTgt>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4">
                                            <p:graphicEl>
                                              <a:dgm id="{DD170533-D0CE-402B-946C-BC803D35F61B}"/>
                                            </p:graphicEl>
                                          </p:spTgt>
                                        </p:tgtEl>
                                        <p:attrNameLst>
                                          <p:attrName>style.visibility</p:attrName>
                                        </p:attrNameLst>
                                      </p:cBhvr>
                                      <p:to>
                                        <p:strVal val="visible"/>
                                      </p:to>
                                    </p:set>
                                    <p:animEffect transition="in" filter="fade">
                                      <p:cBhvr>
                                        <p:cTn id="32" dur="500"/>
                                        <p:tgtEl>
                                          <p:spTgt spid="4">
                                            <p:graphicEl>
                                              <a:dgm id="{DD170533-D0CE-402B-946C-BC803D35F61B}"/>
                                            </p:graphicEl>
                                          </p:spTgt>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4">
                                            <p:graphicEl>
                                              <a:dgm id="{A364EF17-8BC8-4609-9DC0-EFA95BC4700C}"/>
                                            </p:graphicEl>
                                          </p:spTgt>
                                        </p:tgtEl>
                                        <p:attrNameLst>
                                          <p:attrName>style.visibility</p:attrName>
                                        </p:attrNameLst>
                                      </p:cBhvr>
                                      <p:to>
                                        <p:strVal val="visible"/>
                                      </p:to>
                                    </p:set>
                                    <p:animEffect transition="in" filter="fade">
                                      <p:cBhvr>
                                        <p:cTn id="36" dur="500"/>
                                        <p:tgtEl>
                                          <p:spTgt spid="4">
                                            <p:graphicEl>
                                              <a:dgm id="{A364EF17-8BC8-4609-9DC0-EFA95BC4700C}"/>
                                            </p:graphic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4">
                                            <p:graphicEl>
                                              <a:dgm id="{ED9D7A6D-27F6-4122-BB52-8FF977A60715}"/>
                                            </p:graphicEl>
                                          </p:spTgt>
                                        </p:tgtEl>
                                        <p:attrNameLst>
                                          <p:attrName>style.visibility</p:attrName>
                                        </p:attrNameLst>
                                      </p:cBhvr>
                                      <p:to>
                                        <p:strVal val="visible"/>
                                      </p:to>
                                    </p:set>
                                    <p:animEffect transition="in" filter="fade">
                                      <p:cBhvr>
                                        <p:cTn id="41" dur="50"/>
                                        <p:tgtEl>
                                          <p:spTgt spid="4">
                                            <p:graphicEl>
                                              <a:dgm id="{ED9D7A6D-27F6-4122-BB52-8FF977A60715}"/>
                                            </p:graphicEl>
                                          </p:spTgt>
                                        </p:tgtEl>
                                      </p:cBhvr>
                                    </p:animEffect>
                                  </p:childTnLst>
                                </p:cTn>
                              </p:par>
                            </p:childTnLst>
                          </p:cTn>
                        </p:par>
                        <p:par>
                          <p:cTn id="42" fill="hold">
                            <p:stCondLst>
                              <p:cond delay="50"/>
                            </p:stCondLst>
                            <p:childTnLst>
                              <p:par>
                                <p:cTn id="43" presetID="10" presetClass="entr" presetSubtype="0" fill="hold" grpId="0" nodeType="afterEffect">
                                  <p:stCondLst>
                                    <p:cond delay="250"/>
                                  </p:stCondLst>
                                  <p:childTnLst>
                                    <p:set>
                                      <p:cBhvr>
                                        <p:cTn id="44" dur="1" fill="hold">
                                          <p:stCondLst>
                                            <p:cond delay="0"/>
                                          </p:stCondLst>
                                        </p:cTn>
                                        <p:tgtEl>
                                          <p:spTgt spid="4">
                                            <p:graphicEl>
                                              <a:dgm id="{956AF648-3F93-41DF-8180-2B82526844F8}"/>
                                            </p:graphicEl>
                                          </p:spTgt>
                                        </p:tgtEl>
                                        <p:attrNameLst>
                                          <p:attrName>style.visibility</p:attrName>
                                        </p:attrNameLst>
                                      </p:cBhvr>
                                      <p:to>
                                        <p:strVal val="visible"/>
                                      </p:to>
                                    </p:set>
                                    <p:animEffect transition="in" filter="fade">
                                      <p:cBhvr>
                                        <p:cTn id="45" dur="50"/>
                                        <p:tgtEl>
                                          <p:spTgt spid="4">
                                            <p:graphicEl>
                                              <a:dgm id="{956AF648-3F93-41DF-8180-2B82526844F8}"/>
                                            </p:graphicEl>
                                          </p:spTgt>
                                        </p:tgtEl>
                                      </p:cBhvr>
                                    </p:animEffect>
                                  </p:childTnLst>
                                </p:cTn>
                              </p:par>
                            </p:childTnLst>
                          </p:cTn>
                        </p:par>
                        <p:par>
                          <p:cTn id="46" fill="hold">
                            <p:stCondLst>
                              <p:cond delay="350"/>
                            </p:stCondLst>
                            <p:childTnLst>
                              <p:par>
                                <p:cTn id="47" presetID="10" presetClass="entr" presetSubtype="0" fill="hold" grpId="0" nodeType="afterEffect">
                                  <p:stCondLst>
                                    <p:cond delay="0"/>
                                  </p:stCondLst>
                                  <p:childTnLst>
                                    <p:set>
                                      <p:cBhvr>
                                        <p:cTn id="48" dur="1" fill="hold">
                                          <p:stCondLst>
                                            <p:cond delay="0"/>
                                          </p:stCondLst>
                                        </p:cTn>
                                        <p:tgtEl>
                                          <p:spTgt spid="4">
                                            <p:graphicEl>
                                              <a:dgm id="{CB40655B-3A78-446B-81DC-752E71EBF0AD}"/>
                                            </p:graphicEl>
                                          </p:spTgt>
                                        </p:tgtEl>
                                        <p:attrNameLst>
                                          <p:attrName>style.visibility</p:attrName>
                                        </p:attrNameLst>
                                      </p:cBhvr>
                                      <p:to>
                                        <p:strVal val="visible"/>
                                      </p:to>
                                    </p:set>
                                    <p:animEffect transition="in" filter="fade">
                                      <p:cBhvr>
                                        <p:cTn id="49" dur="50"/>
                                        <p:tgtEl>
                                          <p:spTgt spid="4">
                                            <p:graphicEl>
                                              <a:dgm id="{CB40655B-3A78-446B-81DC-752E71EBF0AD}"/>
                                            </p:graphicEl>
                                          </p:spTgt>
                                        </p:tgtEl>
                                      </p:cBhvr>
                                    </p:animEffect>
                                  </p:childTnLst>
                                </p:cTn>
                              </p:par>
                            </p:childTnLst>
                          </p:cTn>
                        </p:par>
                        <p:par>
                          <p:cTn id="50" fill="hold">
                            <p:stCondLst>
                              <p:cond delay="400"/>
                            </p:stCondLst>
                            <p:childTnLst>
                              <p:par>
                                <p:cTn id="51" presetID="10" presetClass="entr" presetSubtype="0" fill="hold" grpId="0" nodeType="afterEffect">
                                  <p:stCondLst>
                                    <p:cond delay="0"/>
                                  </p:stCondLst>
                                  <p:childTnLst>
                                    <p:set>
                                      <p:cBhvr>
                                        <p:cTn id="52" dur="1" fill="hold">
                                          <p:stCondLst>
                                            <p:cond delay="0"/>
                                          </p:stCondLst>
                                        </p:cTn>
                                        <p:tgtEl>
                                          <p:spTgt spid="4">
                                            <p:graphicEl>
                                              <a:dgm id="{8835036C-3951-418C-AD84-34BFCDDB87E1}"/>
                                            </p:graphicEl>
                                          </p:spTgt>
                                        </p:tgtEl>
                                        <p:attrNameLst>
                                          <p:attrName>style.visibility</p:attrName>
                                        </p:attrNameLst>
                                      </p:cBhvr>
                                      <p:to>
                                        <p:strVal val="visible"/>
                                      </p:to>
                                    </p:set>
                                    <p:animEffect transition="in" filter="fade">
                                      <p:cBhvr>
                                        <p:cTn id="53" dur="50"/>
                                        <p:tgtEl>
                                          <p:spTgt spid="4">
                                            <p:graphicEl>
                                              <a:dgm id="{8835036C-3951-418C-AD84-34BFCDDB87E1}"/>
                                            </p:graphicEl>
                                          </p:spTgt>
                                        </p:tgtEl>
                                      </p:cBhvr>
                                    </p:animEffect>
                                  </p:childTnLst>
                                </p:cTn>
                              </p:par>
                            </p:childTnLst>
                          </p:cTn>
                        </p:par>
                        <p:par>
                          <p:cTn id="54" fill="hold">
                            <p:stCondLst>
                              <p:cond delay="450"/>
                            </p:stCondLst>
                            <p:childTnLst>
                              <p:par>
                                <p:cTn id="55" presetID="10" presetClass="entr" presetSubtype="0" fill="hold" grpId="0" nodeType="afterEffect">
                                  <p:stCondLst>
                                    <p:cond delay="0"/>
                                  </p:stCondLst>
                                  <p:childTnLst>
                                    <p:set>
                                      <p:cBhvr>
                                        <p:cTn id="56" dur="1" fill="hold">
                                          <p:stCondLst>
                                            <p:cond delay="0"/>
                                          </p:stCondLst>
                                        </p:cTn>
                                        <p:tgtEl>
                                          <p:spTgt spid="4">
                                            <p:graphicEl>
                                              <a:dgm id="{0484FEF3-80BB-466E-AB48-804D8214DFD7}"/>
                                            </p:graphicEl>
                                          </p:spTgt>
                                        </p:tgtEl>
                                        <p:attrNameLst>
                                          <p:attrName>style.visibility</p:attrName>
                                        </p:attrNameLst>
                                      </p:cBhvr>
                                      <p:to>
                                        <p:strVal val="visible"/>
                                      </p:to>
                                    </p:set>
                                    <p:animEffect transition="in" filter="fade">
                                      <p:cBhvr>
                                        <p:cTn id="57" dur="50"/>
                                        <p:tgtEl>
                                          <p:spTgt spid="4">
                                            <p:graphicEl>
                                              <a:dgm id="{0484FEF3-80BB-466E-AB48-804D8214DFD7}"/>
                                            </p:graphicEl>
                                          </p:spTgt>
                                        </p:tgtEl>
                                      </p:cBhvr>
                                    </p:animEffect>
                                  </p:childTnLst>
                                </p:cTn>
                              </p:par>
                            </p:childTnLst>
                          </p:cTn>
                        </p:par>
                        <p:par>
                          <p:cTn id="58" fill="hold">
                            <p:stCondLst>
                              <p:cond delay="500"/>
                            </p:stCondLst>
                            <p:childTnLst>
                              <p:par>
                                <p:cTn id="59" presetID="10" presetClass="entr" presetSubtype="0" fill="hold" grpId="0" nodeType="afterEffect">
                                  <p:stCondLst>
                                    <p:cond delay="0"/>
                                  </p:stCondLst>
                                  <p:childTnLst>
                                    <p:set>
                                      <p:cBhvr>
                                        <p:cTn id="60" dur="1" fill="hold">
                                          <p:stCondLst>
                                            <p:cond delay="0"/>
                                          </p:stCondLst>
                                        </p:cTn>
                                        <p:tgtEl>
                                          <p:spTgt spid="4">
                                            <p:graphicEl>
                                              <a:dgm id="{55108962-F779-40E9-A22C-763D4069C424}"/>
                                            </p:graphicEl>
                                          </p:spTgt>
                                        </p:tgtEl>
                                        <p:attrNameLst>
                                          <p:attrName>style.visibility</p:attrName>
                                        </p:attrNameLst>
                                      </p:cBhvr>
                                      <p:to>
                                        <p:strVal val="visible"/>
                                      </p:to>
                                    </p:set>
                                    <p:animEffect transition="in" filter="fade">
                                      <p:cBhvr>
                                        <p:cTn id="61" dur="50"/>
                                        <p:tgtEl>
                                          <p:spTgt spid="4">
                                            <p:graphicEl>
                                              <a:dgm id="{55108962-F779-40E9-A22C-763D4069C424}"/>
                                            </p:graphicEl>
                                          </p:spTgt>
                                        </p:tgtEl>
                                      </p:cBhvr>
                                    </p:animEffect>
                                  </p:childTnLst>
                                </p:cTn>
                              </p:par>
                            </p:childTnLst>
                          </p:cTn>
                        </p:par>
                        <p:par>
                          <p:cTn id="62" fill="hold">
                            <p:stCondLst>
                              <p:cond delay="550"/>
                            </p:stCondLst>
                            <p:childTnLst>
                              <p:par>
                                <p:cTn id="63" presetID="10" presetClass="entr" presetSubtype="0" fill="hold" grpId="0" nodeType="afterEffect">
                                  <p:stCondLst>
                                    <p:cond delay="0"/>
                                  </p:stCondLst>
                                  <p:childTnLst>
                                    <p:set>
                                      <p:cBhvr>
                                        <p:cTn id="64" dur="1" fill="hold">
                                          <p:stCondLst>
                                            <p:cond delay="0"/>
                                          </p:stCondLst>
                                        </p:cTn>
                                        <p:tgtEl>
                                          <p:spTgt spid="4">
                                            <p:graphicEl>
                                              <a:dgm id="{CF04E266-3C1F-4F0F-8ECB-91CBFF2A270A}"/>
                                            </p:graphicEl>
                                          </p:spTgt>
                                        </p:tgtEl>
                                        <p:attrNameLst>
                                          <p:attrName>style.visibility</p:attrName>
                                        </p:attrNameLst>
                                      </p:cBhvr>
                                      <p:to>
                                        <p:strVal val="visible"/>
                                      </p:to>
                                    </p:set>
                                    <p:animEffect transition="in" filter="fade">
                                      <p:cBhvr>
                                        <p:cTn id="65" dur="50"/>
                                        <p:tgtEl>
                                          <p:spTgt spid="4">
                                            <p:graphicEl>
                                              <a:dgm id="{CF04E266-3C1F-4F0F-8ECB-91CBFF2A270A}"/>
                                            </p:graphicEl>
                                          </p:spTgt>
                                        </p:tgtEl>
                                      </p:cBhvr>
                                    </p:animEffect>
                                  </p:childTnLst>
                                </p:cTn>
                              </p:par>
                            </p:childTnLst>
                          </p:cTn>
                        </p:par>
                        <p:par>
                          <p:cTn id="66" fill="hold">
                            <p:stCondLst>
                              <p:cond delay="600"/>
                            </p:stCondLst>
                            <p:childTnLst>
                              <p:par>
                                <p:cTn id="67" presetID="10" presetClass="entr" presetSubtype="0" fill="hold" grpId="0" nodeType="afterEffect">
                                  <p:stCondLst>
                                    <p:cond delay="0"/>
                                  </p:stCondLst>
                                  <p:childTnLst>
                                    <p:set>
                                      <p:cBhvr>
                                        <p:cTn id="68" dur="1" fill="hold">
                                          <p:stCondLst>
                                            <p:cond delay="0"/>
                                          </p:stCondLst>
                                        </p:cTn>
                                        <p:tgtEl>
                                          <p:spTgt spid="4">
                                            <p:graphicEl>
                                              <a:dgm id="{EFA85F0F-A555-42DB-B683-6C7318384ED3}"/>
                                            </p:graphicEl>
                                          </p:spTgt>
                                        </p:tgtEl>
                                        <p:attrNameLst>
                                          <p:attrName>style.visibility</p:attrName>
                                        </p:attrNameLst>
                                      </p:cBhvr>
                                      <p:to>
                                        <p:strVal val="visible"/>
                                      </p:to>
                                    </p:set>
                                    <p:animEffect transition="in" filter="fade">
                                      <p:cBhvr>
                                        <p:cTn id="69" dur="500"/>
                                        <p:tgtEl>
                                          <p:spTgt spid="4">
                                            <p:graphicEl>
                                              <a:dgm id="{EFA85F0F-A555-42DB-B683-6C7318384ED3}"/>
                                            </p:graphicEl>
                                          </p:spTgt>
                                        </p:tgtEl>
                                      </p:cBhvr>
                                    </p:animEffect>
                                  </p:childTnLst>
                                </p:cTn>
                              </p:par>
                            </p:childTnLst>
                          </p:cTn>
                        </p:par>
                        <p:par>
                          <p:cTn id="70" fill="hold">
                            <p:stCondLst>
                              <p:cond delay="1100"/>
                            </p:stCondLst>
                            <p:childTnLst>
                              <p:par>
                                <p:cTn id="71" presetID="10" presetClass="entr" presetSubtype="0" fill="hold" grpId="0" nodeType="afterEffect">
                                  <p:stCondLst>
                                    <p:cond delay="0"/>
                                  </p:stCondLst>
                                  <p:childTnLst>
                                    <p:set>
                                      <p:cBhvr>
                                        <p:cTn id="72" dur="1" fill="hold">
                                          <p:stCondLst>
                                            <p:cond delay="0"/>
                                          </p:stCondLst>
                                        </p:cTn>
                                        <p:tgtEl>
                                          <p:spTgt spid="4">
                                            <p:graphicEl>
                                              <a:dgm id="{5A7435AB-0EAE-48A3-9BD9-0F03114061DF}"/>
                                            </p:graphicEl>
                                          </p:spTgt>
                                        </p:tgtEl>
                                        <p:attrNameLst>
                                          <p:attrName>style.visibility</p:attrName>
                                        </p:attrNameLst>
                                      </p:cBhvr>
                                      <p:to>
                                        <p:strVal val="visible"/>
                                      </p:to>
                                    </p:set>
                                    <p:animEffect transition="in" filter="fade">
                                      <p:cBhvr>
                                        <p:cTn id="73" dur="50"/>
                                        <p:tgtEl>
                                          <p:spTgt spid="4">
                                            <p:graphicEl>
                                              <a:dgm id="{5A7435AB-0EAE-48A3-9BD9-0F03114061DF}"/>
                                            </p:graphicEl>
                                          </p:spTgt>
                                        </p:tgtEl>
                                      </p:cBhvr>
                                    </p:animEffect>
                                  </p:childTnLst>
                                </p:cTn>
                              </p:par>
                            </p:childTnLst>
                          </p:cTn>
                        </p:par>
                        <p:par>
                          <p:cTn id="74" fill="hold">
                            <p:stCondLst>
                              <p:cond delay="1150"/>
                            </p:stCondLst>
                            <p:childTnLst>
                              <p:par>
                                <p:cTn id="75" presetID="10" presetClass="entr" presetSubtype="0" fill="hold" grpId="0" nodeType="afterEffect">
                                  <p:stCondLst>
                                    <p:cond delay="0"/>
                                  </p:stCondLst>
                                  <p:childTnLst>
                                    <p:set>
                                      <p:cBhvr>
                                        <p:cTn id="76" dur="1" fill="hold">
                                          <p:stCondLst>
                                            <p:cond delay="0"/>
                                          </p:stCondLst>
                                        </p:cTn>
                                        <p:tgtEl>
                                          <p:spTgt spid="4">
                                            <p:graphicEl>
                                              <a:dgm id="{8DFEF4C6-66E1-457A-916F-64179C4E5A9B}"/>
                                            </p:graphicEl>
                                          </p:spTgt>
                                        </p:tgtEl>
                                        <p:attrNameLst>
                                          <p:attrName>style.visibility</p:attrName>
                                        </p:attrNameLst>
                                      </p:cBhvr>
                                      <p:to>
                                        <p:strVal val="visible"/>
                                      </p:to>
                                    </p:set>
                                    <p:animEffect transition="in" filter="fade">
                                      <p:cBhvr>
                                        <p:cTn id="77" dur="50"/>
                                        <p:tgtEl>
                                          <p:spTgt spid="4">
                                            <p:graphicEl>
                                              <a:dgm id="{8DFEF4C6-66E1-457A-916F-64179C4E5A9B}"/>
                                            </p:graphicEl>
                                          </p:spTgt>
                                        </p:tgtEl>
                                      </p:cBhvr>
                                    </p:animEffect>
                                  </p:childTnLst>
                                </p:cTn>
                              </p:par>
                            </p:childTnLst>
                          </p:cTn>
                        </p:par>
                        <p:par>
                          <p:cTn id="78" fill="hold">
                            <p:stCondLst>
                              <p:cond delay="1200"/>
                            </p:stCondLst>
                            <p:childTnLst>
                              <p:par>
                                <p:cTn id="79" presetID="10" presetClass="entr" presetSubtype="0" fill="hold" grpId="0" nodeType="afterEffect">
                                  <p:stCondLst>
                                    <p:cond delay="0"/>
                                  </p:stCondLst>
                                  <p:childTnLst>
                                    <p:set>
                                      <p:cBhvr>
                                        <p:cTn id="80" dur="1" fill="hold">
                                          <p:stCondLst>
                                            <p:cond delay="0"/>
                                          </p:stCondLst>
                                        </p:cTn>
                                        <p:tgtEl>
                                          <p:spTgt spid="4">
                                            <p:graphicEl>
                                              <a:dgm id="{0B07CCEB-AA66-4E76-B431-1428E254EF9A}"/>
                                            </p:graphicEl>
                                          </p:spTgt>
                                        </p:tgtEl>
                                        <p:attrNameLst>
                                          <p:attrName>style.visibility</p:attrName>
                                        </p:attrNameLst>
                                      </p:cBhvr>
                                      <p:to>
                                        <p:strVal val="visible"/>
                                      </p:to>
                                    </p:set>
                                    <p:animEffect transition="in" filter="fade">
                                      <p:cBhvr>
                                        <p:cTn id="81" dur="50"/>
                                        <p:tgtEl>
                                          <p:spTgt spid="4">
                                            <p:graphicEl>
                                              <a:dgm id="{0B07CCEB-AA66-4E76-B431-1428E254EF9A}"/>
                                            </p:graphicEl>
                                          </p:spTgt>
                                        </p:tgtEl>
                                      </p:cBhvr>
                                    </p:animEffect>
                                  </p:childTnLst>
                                </p:cTn>
                              </p:par>
                            </p:childTnLst>
                          </p:cTn>
                        </p:par>
                        <p:par>
                          <p:cTn id="82" fill="hold">
                            <p:stCondLst>
                              <p:cond delay="1250"/>
                            </p:stCondLst>
                            <p:childTnLst>
                              <p:par>
                                <p:cTn id="83" presetID="10" presetClass="entr" presetSubtype="0" fill="hold" grpId="0" nodeType="afterEffect">
                                  <p:stCondLst>
                                    <p:cond delay="0"/>
                                  </p:stCondLst>
                                  <p:childTnLst>
                                    <p:set>
                                      <p:cBhvr>
                                        <p:cTn id="84" dur="1" fill="hold">
                                          <p:stCondLst>
                                            <p:cond delay="0"/>
                                          </p:stCondLst>
                                        </p:cTn>
                                        <p:tgtEl>
                                          <p:spTgt spid="4">
                                            <p:graphicEl>
                                              <a:dgm id="{856C2FA2-2EF2-4EB3-9F07-25F25CEB6C88}"/>
                                            </p:graphicEl>
                                          </p:spTgt>
                                        </p:tgtEl>
                                        <p:attrNameLst>
                                          <p:attrName>style.visibility</p:attrName>
                                        </p:attrNameLst>
                                      </p:cBhvr>
                                      <p:to>
                                        <p:strVal val="visible"/>
                                      </p:to>
                                    </p:set>
                                    <p:animEffect transition="in" filter="fade">
                                      <p:cBhvr>
                                        <p:cTn id="85" dur="50"/>
                                        <p:tgtEl>
                                          <p:spTgt spid="4">
                                            <p:graphicEl>
                                              <a:dgm id="{856C2FA2-2EF2-4EB3-9F07-25F25CEB6C88}"/>
                                            </p:graphicEl>
                                          </p:spTgt>
                                        </p:tgtEl>
                                      </p:cBhvr>
                                    </p:animEffect>
                                  </p:childTnLst>
                                </p:cTn>
                              </p:par>
                            </p:childTnLst>
                          </p:cTn>
                        </p:par>
                        <p:par>
                          <p:cTn id="86" fill="hold">
                            <p:stCondLst>
                              <p:cond delay="1300"/>
                            </p:stCondLst>
                            <p:childTnLst>
                              <p:par>
                                <p:cTn id="87" presetID="10" presetClass="entr" presetSubtype="0" fill="hold" grpId="0" nodeType="afterEffect">
                                  <p:stCondLst>
                                    <p:cond delay="0"/>
                                  </p:stCondLst>
                                  <p:childTnLst>
                                    <p:set>
                                      <p:cBhvr>
                                        <p:cTn id="88" dur="1" fill="hold">
                                          <p:stCondLst>
                                            <p:cond delay="0"/>
                                          </p:stCondLst>
                                        </p:cTn>
                                        <p:tgtEl>
                                          <p:spTgt spid="4">
                                            <p:graphicEl>
                                              <a:dgm id="{B8BC3BA1-ED75-4F94-956E-68AA5E500B2D}"/>
                                            </p:graphicEl>
                                          </p:spTgt>
                                        </p:tgtEl>
                                        <p:attrNameLst>
                                          <p:attrName>style.visibility</p:attrName>
                                        </p:attrNameLst>
                                      </p:cBhvr>
                                      <p:to>
                                        <p:strVal val="visible"/>
                                      </p:to>
                                    </p:set>
                                    <p:animEffect transition="in" filter="fade">
                                      <p:cBhvr>
                                        <p:cTn id="89" dur="50"/>
                                        <p:tgtEl>
                                          <p:spTgt spid="4">
                                            <p:graphicEl>
                                              <a:dgm id="{B8BC3BA1-ED75-4F94-956E-68AA5E500B2D}"/>
                                            </p:graphicEl>
                                          </p:spTgt>
                                        </p:tgtEl>
                                      </p:cBhvr>
                                    </p:animEffect>
                                  </p:childTnLst>
                                </p:cTn>
                              </p:par>
                            </p:childTnLst>
                          </p:cTn>
                        </p:par>
                        <p:par>
                          <p:cTn id="90" fill="hold">
                            <p:stCondLst>
                              <p:cond delay="1350"/>
                            </p:stCondLst>
                            <p:childTnLst>
                              <p:par>
                                <p:cTn id="91" presetID="10" presetClass="entr" presetSubtype="0" fill="hold" grpId="0" nodeType="afterEffect">
                                  <p:stCondLst>
                                    <p:cond delay="0"/>
                                  </p:stCondLst>
                                  <p:childTnLst>
                                    <p:set>
                                      <p:cBhvr>
                                        <p:cTn id="92" dur="1" fill="hold">
                                          <p:stCondLst>
                                            <p:cond delay="0"/>
                                          </p:stCondLst>
                                        </p:cTn>
                                        <p:tgtEl>
                                          <p:spTgt spid="4">
                                            <p:graphicEl>
                                              <a:dgm id="{F8AC719F-CAF3-491D-A1F9-4D5765FED417}"/>
                                            </p:graphicEl>
                                          </p:spTgt>
                                        </p:tgtEl>
                                        <p:attrNameLst>
                                          <p:attrName>style.visibility</p:attrName>
                                        </p:attrNameLst>
                                      </p:cBhvr>
                                      <p:to>
                                        <p:strVal val="visible"/>
                                      </p:to>
                                    </p:set>
                                    <p:animEffect transition="in" filter="fade">
                                      <p:cBhvr>
                                        <p:cTn id="93" dur="50"/>
                                        <p:tgtEl>
                                          <p:spTgt spid="4">
                                            <p:graphicEl>
                                              <a:dgm id="{F8AC719F-CAF3-491D-A1F9-4D5765FED417}"/>
                                            </p:graphicEl>
                                          </p:spTgt>
                                        </p:tgtEl>
                                      </p:cBhvr>
                                    </p:animEffect>
                                  </p:childTnLst>
                                </p:cTn>
                              </p:par>
                            </p:childTnLst>
                          </p:cTn>
                        </p:par>
                        <p:par>
                          <p:cTn id="94" fill="hold">
                            <p:stCondLst>
                              <p:cond delay="1400"/>
                            </p:stCondLst>
                            <p:childTnLst>
                              <p:par>
                                <p:cTn id="95" presetID="10" presetClass="entr" presetSubtype="0" fill="hold" grpId="0" nodeType="afterEffect">
                                  <p:stCondLst>
                                    <p:cond delay="0"/>
                                  </p:stCondLst>
                                  <p:childTnLst>
                                    <p:set>
                                      <p:cBhvr>
                                        <p:cTn id="96" dur="1" fill="hold">
                                          <p:stCondLst>
                                            <p:cond delay="0"/>
                                          </p:stCondLst>
                                        </p:cTn>
                                        <p:tgtEl>
                                          <p:spTgt spid="4">
                                            <p:graphicEl>
                                              <a:dgm id="{F783456F-55BA-48F3-946C-335CB438F782}"/>
                                            </p:graphicEl>
                                          </p:spTgt>
                                        </p:tgtEl>
                                        <p:attrNameLst>
                                          <p:attrName>style.visibility</p:attrName>
                                        </p:attrNameLst>
                                      </p:cBhvr>
                                      <p:to>
                                        <p:strVal val="visible"/>
                                      </p:to>
                                    </p:set>
                                    <p:animEffect transition="in" filter="fade">
                                      <p:cBhvr>
                                        <p:cTn id="97" dur="50"/>
                                        <p:tgtEl>
                                          <p:spTgt spid="4">
                                            <p:graphicEl>
                                              <a:dgm id="{F783456F-55BA-48F3-946C-335CB438F782}"/>
                                            </p:graphicEl>
                                          </p:spTgt>
                                        </p:tgtEl>
                                      </p:cBhvr>
                                    </p:animEffect>
                                  </p:childTnLst>
                                </p:cTn>
                              </p:par>
                            </p:childTnLst>
                          </p:cTn>
                        </p:par>
                        <p:par>
                          <p:cTn id="98" fill="hold">
                            <p:stCondLst>
                              <p:cond delay="1450"/>
                            </p:stCondLst>
                            <p:childTnLst>
                              <p:par>
                                <p:cTn id="99" presetID="10" presetClass="entr" presetSubtype="0" fill="hold" grpId="0" nodeType="afterEffect">
                                  <p:stCondLst>
                                    <p:cond delay="0"/>
                                  </p:stCondLst>
                                  <p:childTnLst>
                                    <p:set>
                                      <p:cBhvr>
                                        <p:cTn id="100" dur="1" fill="hold">
                                          <p:stCondLst>
                                            <p:cond delay="0"/>
                                          </p:stCondLst>
                                        </p:cTn>
                                        <p:tgtEl>
                                          <p:spTgt spid="4">
                                            <p:graphicEl>
                                              <a:dgm id="{720B06E0-9EA7-47F7-98E8-655F7F53DCF4}"/>
                                            </p:graphicEl>
                                          </p:spTgt>
                                        </p:tgtEl>
                                        <p:attrNameLst>
                                          <p:attrName>style.visibility</p:attrName>
                                        </p:attrNameLst>
                                      </p:cBhvr>
                                      <p:to>
                                        <p:strVal val="visible"/>
                                      </p:to>
                                    </p:set>
                                    <p:animEffect transition="in" filter="fade">
                                      <p:cBhvr>
                                        <p:cTn id="101" dur="50"/>
                                        <p:tgtEl>
                                          <p:spTgt spid="4">
                                            <p:graphicEl>
                                              <a:dgm id="{720B06E0-9EA7-47F7-98E8-655F7F53DCF4}"/>
                                            </p:graphicEl>
                                          </p:spTgt>
                                        </p:tgtEl>
                                      </p:cBhvr>
                                    </p:animEffect>
                                  </p:childTnLst>
                                </p:cTn>
                              </p:par>
                            </p:childTnLst>
                          </p:cTn>
                        </p:par>
                        <p:par>
                          <p:cTn id="102" fill="hold">
                            <p:stCondLst>
                              <p:cond delay="1500"/>
                            </p:stCondLst>
                            <p:childTnLst>
                              <p:par>
                                <p:cTn id="103" presetID="10" presetClass="entr" presetSubtype="0" fill="hold" grpId="0" nodeType="afterEffect">
                                  <p:stCondLst>
                                    <p:cond delay="0"/>
                                  </p:stCondLst>
                                  <p:childTnLst>
                                    <p:set>
                                      <p:cBhvr>
                                        <p:cTn id="104" dur="1" fill="hold">
                                          <p:stCondLst>
                                            <p:cond delay="0"/>
                                          </p:stCondLst>
                                        </p:cTn>
                                        <p:tgtEl>
                                          <p:spTgt spid="4">
                                            <p:graphicEl>
                                              <a:dgm id="{AFAC0F0D-098F-4D27-93F0-D66465E8FF0D}"/>
                                            </p:graphicEl>
                                          </p:spTgt>
                                        </p:tgtEl>
                                        <p:attrNameLst>
                                          <p:attrName>style.visibility</p:attrName>
                                        </p:attrNameLst>
                                      </p:cBhvr>
                                      <p:to>
                                        <p:strVal val="visible"/>
                                      </p:to>
                                    </p:set>
                                    <p:animEffect transition="in" filter="fade">
                                      <p:cBhvr>
                                        <p:cTn id="105" dur="50"/>
                                        <p:tgtEl>
                                          <p:spTgt spid="4">
                                            <p:graphicEl>
                                              <a:dgm id="{AFAC0F0D-098F-4D27-93F0-D66465E8FF0D}"/>
                                            </p:graphicEl>
                                          </p:spTgt>
                                        </p:tgtEl>
                                      </p:cBhvr>
                                    </p:animEffect>
                                  </p:childTnLst>
                                </p:cTn>
                              </p:par>
                            </p:childTnLst>
                          </p:cTn>
                        </p:par>
                        <p:par>
                          <p:cTn id="106" fill="hold">
                            <p:stCondLst>
                              <p:cond delay="1550"/>
                            </p:stCondLst>
                            <p:childTnLst>
                              <p:par>
                                <p:cTn id="107" presetID="10" presetClass="entr" presetSubtype="0" fill="hold" grpId="0" nodeType="afterEffect">
                                  <p:stCondLst>
                                    <p:cond delay="0"/>
                                  </p:stCondLst>
                                  <p:childTnLst>
                                    <p:set>
                                      <p:cBhvr>
                                        <p:cTn id="108" dur="1" fill="hold">
                                          <p:stCondLst>
                                            <p:cond delay="0"/>
                                          </p:stCondLst>
                                        </p:cTn>
                                        <p:tgtEl>
                                          <p:spTgt spid="4">
                                            <p:graphicEl>
                                              <a:dgm id="{06466438-6FC9-465C-AA86-A61300E5A226}"/>
                                            </p:graphicEl>
                                          </p:spTgt>
                                        </p:tgtEl>
                                        <p:attrNameLst>
                                          <p:attrName>style.visibility</p:attrName>
                                        </p:attrNameLst>
                                      </p:cBhvr>
                                      <p:to>
                                        <p:strVal val="visible"/>
                                      </p:to>
                                    </p:set>
                                    <p:animEffect transition="in" filter="fade">
                                      <p:cBhvr>
                                        <p:cTn id="109" dur="50"/>
                                        <p:tgtEl>
                                          <p:spTgt spid="4">
                                            <p:graphicEl>
                                              <a:dgm id="{06466438-6FC9-465C-AA86-A61300E5A226}"/>
                                            </p:graphicEl>
                                          </p:spTgt>
                                        </p:tgtEl>
                                      </p:cBhvr>
                                    </p:animEffect>
                                  </p:childTnLst>
                                </p:cTn>
                              </p:par>
                            </p:childTnLst>
                          </p:cTn>
                        </p:par>
                        <p:par>
                          <p:cTn id="110" fill="hold">
                            <p:stCondLst>
                              <p:cond delay="1600"/>
                            </p:stCondLst>
                            <p:childTnLst>
                              <p:par>
                                <p:cTn id="111" presetID="10" presetClass="entr" presetSubtype="0" fill="hold" grpId="0" nodeType="afterEffect">
                                  <p:stCondLst>
                                    <p:cond delay="0"/>
                                  </p:stCondLst>
                                  <p:childTnLst>
                                    <p:set>
                                      <p:cBhvr>
                                        <p:cTn id="112" dur="1" fill="hold">
                                          <p:stCondLst>
                                            <p:cond delay="0"/>
                                          </p:stCondLst>
                                        </p:cTn>
                                        <p:tgtEl>
                                          <p:spTgt spid="4">
                                            <p:graphicEl>
                                              <a:dgm id="{4C3F5D75-D660-4196-BE58-4FEEA2FD1070}"/>
                                            </p:graphicEl>
                                          </p:spTgt>
                                        </p:tgtEl>
                                        <p:attrNameLst>
                                          <p:attrName>style.visibility</p:attrName>
                                        </p:attrNameLst>
                                      </p:cBhvr>
                                      <p:to>
                                        <p:strVal val="visible"/>
                                      </p:to>
                                    </p:set>
                                    <p:animEffect transition="in" filter="fade">
                                      <p:cBhvr>
                                        <p:cTn id="113" dur="50"/>
                                        <p:tgtEl>
                                          <p:spTgt spid="4">
                                            <p:graphicEl>
                                              <a:dgm id="{4C3F5D75-D660-4196-BE58-4FEEA2FD1070}"/>
                                            </p:graphicEl>
                                          </p:spTgt>
                                        </p:tgtEl>
                                      </p:cBhvr>
                                    </p:animEffect>
                                  </p:childTnLst>
                                </p:cTn>
                              </p:par>
                            </p:childTnLst>
                          </p:cTn>
                        </p:par>
                        <p:par>
                          <p:cTn id="114" fill="hold">
                            <p:stCondLst>
                              <p:cond delay="1650"/>
                            </p:stCondLst>
                            <p:childTnLst>
                              <p:par>
                                <p:cTn id="115" presetID="10" presetClass="entr" presetSubtype="0" fill="hold" grpId="0" nodeType="afterEffect">
                                  <p:stCondLst>
                                    <p:cond delay="0"/>
                                  </p:stCondLst>
                                  <p:childTnLst>
                                    <p:set>
                                      <p:cBhvr>
                                        <p:cTn id="116" dur="1" fill="hold">
                                          <p:stCondLst>
                                            <p:cond delay="0"/>
                                          </p:stCondLst>
                                        </p:cTn>
                                        <p:tgtEl>
                                          <p:spTgt spid="4">
                                            <p:graphicEl>
                                              <a:dgm id="{F3462B34-FF24-4172-91C1-2E0B070780EF}"/>
                                            </p:graphicEl>
                                          </p:spTgt>
                                        </p:tgtEl>
                                        <p:attrNameLst>
                                          <p:attrName>style.visibility</p:attrName>
                                        </p:attrNameLst>
                                      </p:cBhvr>
                                      <p:to>
                                        <p:strVal val="visible"/>
                                      </p:to>
                                    </p:set>
                                    <p:animEffect transition="in" filter="fade">
                                      <p:cBhvr>
                                        <p:cTn id="117" dur="50"/>
                                        <p:tgtEl>
                                          <p:spTgt spid="4">
                                            <p:graphicEl>
                                              <a:dgm id="{F3462B34-FF24-4172-91C1-2E0B070780EF}"/>
                                            </p:graphicEl>
                                          </p:spTgt>
                                        </p:tgtEl>
                                      </p:cBhvr>
                                    </p:animEffect>
                                  </p:childTnLst>
                                </p:cTn>
                              </p:par>
                            </p:childTnLst>
                          </p:cTn>
                        </p:par>
                        <p:par>
                          <p:cTn id="118" fill="hold">
                            <p:stCondLst>
                              <p:cond delay="1700"/>
                            </p:stCondLst>
                            <p:childTnLst>
                              <p:par>
                                <p:cTn id="119" presetID="10" presetClass="entr" presetSubtype="0" fill="hold" grpId="0" nodeType="afterEffect">
                                  <p:stCondLst>
                                    <p:cond delay="0"/>
                                  </p:stCondLst>
                                  <p:childTnLst>
                                    <p:set>
                                      <p:cBhvr>
                                        <p:cTn id="120" dur="1" fill="hold">
                                          <p:stCondLst>
                                            <p:cond delay="0"/>
                                          </p:stCondLst>
                                        </p:cTn>
                                        <p:tgtEl>
                                          <p:spTgt spid="4">
                                            <p:graphicEl>
                                              <a:dgm id="{6F070F02-522B-4806-862C-30037E8CEB58}"/>
                                            </p:graphicEl>
                                          </p:spTgt>
                                        </p:tgtEl>
                                        <p:attrNameLst>
                                          <p:attrName>style.visibility</p:attrName>
                                        </p:attrNameLst>
                                      </p:cBhvr>
                                      <p:to>
                                        <p:strVal val="visible"/>
                                      </p:to>
                                    </p:set>
                                    <p:animEffect transition="in" filter="fade">
                                      <p:cBhvr>
                                        <p:cTn id="121" dur="50"/>
                                        <p:tgtEl>
                                          <p:spTgt spid="4">
                                            <p:graphicEl>
                                              <a:dgm id="{6F070F02-522B-4806-862C-30037E8CEB58}"/>
                                            </p:graphicEl>
                                          </p:spTgt>
                                        </p:tgtEl>
                                      </p:cBhvr>
                                    </p:animEffect>
                                  </p:childTnLst>
                                </p:cTn>
                              </p:par>
                            </p:childTnLst>
                          </p:cTn>
                        </p:par>
                        <p:par>
                          <p:cTn id="122" fill="hold">
                            <p:stCondLst>
                              <p:cond delay="1750"/>
                            </p:stCondLst>
                            <p:childTnLst>
                              <p:par>
                                <p:cTn id="123" presetID="10" presetClass="entr" presetSubtype="0" fill="hold" grpId="0" nodeType="afterEffect">
                                  <p:stCondLst>
                                    <p:cond delay="0"/>
                                  </p:stCondLst>
                                  <p:childTnLst>
                                    <p:set>
                                      <p:cBhvr>
                                        <p:cTn id="124" dur="1" fill="hold">
                                          <p:stCondLst>
                                            <p:cond delay="0"/>
                                          </p:stCondLst>
                                        </p:cTn>
                                        <p:tgtEl>
                                          <p:spTgt spid="4">
                                            <p:graphicEl>
                                              <a:dgm id="{48736913-BC95-4CB6-B20E-8675B0283067}"/>
                                            </p:graphicEl>
                                          </p:spTgt>
                                        </p:tgtEl>
                                        <p:attrNameLst>
                                          <p:attrName>style.visibility</p:attrName>
                                        </p:attrNameLst>
                                      </p:cBhvr>
                                      <p:to>
                                        <p:strVal val="visible"/>
                                      </p:to>
                                    </p:set>
                                    <p:animEffect transition="in" filter="fade">
                                      <p:cBhvr>
                                        <p:cTn id="125" dur="50"/>
                                        <p:tgtEl>
                                          <p:spTgt spid="4">
                                            <p:graphicEl>
                                              <a:dgm id="{48736913-BC95-4CB6-B20E-8675B0283067}"/>
                                            </p:graphicEl>
                                          </p:spTgt>
                                        </p:tgtEl>
                                      </p:cBhvr>
                                    </p:animEffect>
                                  </p:childTnLst>
                                </p:cTn>
                              </p:par>
                            </p:childTnLst>
                          </p:cTn>
                        </p:par>
                        <p:par>
                          <p:cTn id="126" fill="hold">
                            <p:stCondLst>
                              <p:cond delay="1800"/>
                            </p:stCondLst>
                            <p:childTnLst>
                              <p:par>
                                <p:cTn id="127" presetID="10" presetClass="entr" presetSubtype="0" fill="hold" grpId="0" nodeType="afterEffect">
                                  <p:stCondLst>
                                    <p:cond delay="0"/>
                                  </p:stCondLst>
                                  <p:childTnLst>
                                    <p:set>
                                      <p:cBhvr>
                                        <p:cTn id="128" dur="1" fill="hold">
                                          <p:stCondLst>
                                            <p:cond delay="0"/>
                                          </p:stCondLst>
                                        </p:cTn>
                                        <p:tgtEl>
                                          <p:spTgt spid="4">
                                            <p:graphicEl>
                                              <a:dgm id="{5E00F13C-3E1F-476C-8759-D090A25C8392}"/>
                                            </p:graphicEl>
                                          </p:spTgt>
                                        </p:tgtEl>
                                        <p:attrNameLst>
                                          <p:attrName>style.visibility</p:attrName>
                                        </p:attrNameLst>
                                      </p:cBhvr>
                                      <p:to>
                                        <p:strVal val="visible"/>
                                      </p:to>
                                    </p:set>
                                    <p:animEffect transition="in" filter="fade">
                                      <p:cBhvr>
                                        <p:cTn id="129" dur="50"/>
                                        <p:tgtEl>
                                          <p:spTgt spid="4">
                                            <p:graphicEl>
                                              <a:dgm id="{5E00F13C-3E1F-476C-8759-D090A25C8392}"/>
                                            </p:graphicEl>
                                          </p:spTgt>
                                        </p:tgtEl>
                                      </p:cBhvr>
                                    </p:animEffect>
                                  </p:childTnLst>
                                </p:cTn>
                              </p:par>
                            </p:childTnLst>
                          </p:cTn>
                        </p:par>
                        <p:par>
                          <p:cTn id="130" fill="hold">
                            <p:stCondLst>
                              <p:cond delay="1850"/>
                            </p:stCondLst>
                            <p:childTnLst>
                              <p:par>
                                <p:cTn id="131" presetID="10" presetClass="entr" presetSubtype="0" fill="hold" grpId="0" nodeType="afterEffect">
                                  <p:stCondLst>
                                    <p:cond delay="0"/>
                                  </p:stCondLst>
                                  <p:childTnLst>
                                    <p:set>
                                      <p:cBhvr>
                                        <p:cTn id="132" dur="1" fill="hold">
                                          <p:stCondLst>
                                            <p:cond delay="0"/>
                                          </p:stCondLst>
                                        </p:cTn>
                                        <p:tgtEl>
                                          <p:spTgt spid="4">
                                            <p:graphicEl>
                                              <a:dgm id="{99015059-36D6-478F-9D2D-F2C276ECB7CC}"/>
                                            </p:graphicEl>
                                          </p:spTgt>
                                        </p:tgtEl>
                                        <p:attrNameLst>
                                          <p:attrName>style.visibility</p:attrName>
                                        </p:attrNameLst>
                                      </p:cBhvr>
                                      <p:to>
                                        <p:strVal val="visible"/>
                                      </p:to>
                                    </p:set>
                                    <p:animEffect transition="in" filter="fade">
                                      <p:cBhvr>
                                        <p:cTn id="133" dur="50"/>
                                        <p:tgtEl>
                                          <p:spTgt spid="4">
                                            <p:graphicEl>
                                              <a:dgm id="{99015059-36D6-478F-9D2D-F2C276ECB7CC}"/>
                                            </p:graphicEl>
                                          </p:spTgt>
                                        </p:tgtEl>
                                      </p:cBhvr>
                                    </p:animEffect>
                                  </p:childTnLst>
                                </p:cTn>
                              </p:par>
                            </p:childTnLst>
                          </p:cTn>
                        </p:par>
                        <p:par>
                          <p:cTn id="134" fill="hold">
                            <p:stCondLst>
                              <p:cond delay="1900"/>
                            </p:stCondLst>
                            <p:childTnLst>
                              <p:par>
                                <p:cTn id="135" presetID="10" presetClass="entr" presetSubtype="0" fill="hold" grpId="0" nodeType="afterEffect">
                                  <p:stCondLst>
                                    <p:cond delay="0"/>
                                  </p:stCondLst>
                                  <p:childTnLst>
                                    <p:set>
                                      <p:cBhvr>
                                        <p:cTn id="136" dur="1" fill="hold">
                                          <p:stCondLst>
                                            <p:cond delay="0"/>
                                          </p:stCondLst>
                                        </p:cTn>
                                        <p:tgtEl>
                                          <p:spTgt spid="4">
                                            <p:graphicEl>
                                              <a:dgm id="{3ED49043-29E7-4BBC-86E3-7DC64D882336}"/>
                                            </p:graphicEl>
                                          </p:spTgt>
                                        </p:tgtEl>
                                        <p:attrNameLst>
                                          <p:attrName>style.visibility</p:attrName>
                                        </p:attrNameLst>
                                      </p:cBhvr>
                                      <p:to>
                                        <p:strVal val="visible"/>
                                      </p:to>
                                    </p:set>
                                    <p:animEffect transition="in" filter="fade">
                                      <p:cBhvr>
                                        <p:cTn id="137" dur="50"/>
                                        <p:tgtEl>
                                          <p:spTgt spid="4">
                                            <p:graphicEl>
                                              <a:dgm id="{3ED49043-29E7-4BBC-86E3-7DC64D882336}"/>
                                            </p:graphicEl>
                                          </p:spTgt>
                                        </p:tgtEl>
                                      </p:cBhvr>
                                    </p:animEffect>
                                  </p:childTnLst>
                                </p:cTn>
                              </p:par>
                            </p:childTnLst>
                          </p:cTn>
                        </p:par>
                        <p:par>
                          <p:cTn id="138" fill="hold">
                            <p:stCondLst>
                              <p:cond delay="1950"/>
                            </p:stCondLst>
                            <p:childTnLst>
                              <p:par>
                                <p:cTn id="139" presetID="10" presetClass="entr" presetSubtype="0" fill="hold" grpId="0" nodeType="afterEffect">
                                  <p:stCondLst>
                                    <p:cond delay="0"/>
                                  </p:stCondLst>
                                  <p:childTnLst>
                                    <p:set>
                                      <p:cBhvr>
                                        <p:cTn id="140" dur="1" fill="hold">
                                          <p:stCondLst>
                                            <p:cond delay="0"/>
                                          </p:stCondLst>
                                        </p:cTn>
                                        <p:tgtEl>
                                          <p:spTgt spid="4">
                                            <p:graphicEl>
                                              <a:dgm id="{B8E542A7-D4A3-4AD8-9A5B-37B095D516AC}"/>
                                            </p:graphicEl>
                                          </p:spTgt>
                                        </p:tgtEl>
                                        <p:attrNameLst>
                                          <p:attrName>style.visibility</p:attrName>
                                        </p:attrNameLst>
                                      </p:cBhvr>
                                      <p:to>
                                        <p:strVal val="visible"/>
                                      </p:to>
                                    </p:set>
                                    <p:animEffect transition="in" filter="fade">
                                      <p:cBhvr>
                                        <p:cTn id="141" dur="50"/>
                                        <p:tgtEl>
                                          <p:spTgt spid="4">
                                            <p:graphicEl>
                                              <a:dgm id="{B8E542A7-D4A3-4AD8-9A5B-37B095D516AC}"/>
                                            </p:graphicEl>
                                          </p:spTgt>
                                        </p:tgtEl>
                                      </p:cBhvr>
                                    </p:animEffect>
                                  </p:childTnLst>
                                </p:cTn>
                              </p:par>
                            </p:childTnLst>
                          </p:cTn>
                        </p:par>
                        <p:par>
                          <p:cTn id="142" fill="hold">
                            <p:stCondLst>
                              <p:cond delay="2000"/>
                            </p:stCondLst>
                            <p:childTnLst>
                              <p:par>
                                <p:cTn id="143" presetID="10" presetClass="entr" presetSubtype="0" fill="hold" grpId="0" nodeType="afterEffect">
                                  <p:stCondLst>
                                    <p:cond delay="0"/>
                                  </p:stCondLst>
                                  <p:childTnLst>
                                    <p:set>
                                      <p:cBhvr>
                                        <p:cTn id="144" dur="1" fill="hold">
                                          <p:stCondLst>
                                            <p:cond delay="0"/>
                                          </p:stCondLst>
                                        </p:cTn>
                                        <p:tgtEl>
                                          <p:spTgt spid="4">
                                            <p:graphicEl>
                                              <a:dgm id="{D1EF3942-842E-42C7-8026-E3C76461607B}"/>
                                            </p:graphicEl>
                                          </p:spTgt>
                                        </p:tgtEl>
                                        <p:attrNameLst>
                                          <p:attrName>style.visibility</p:attrName>
                                        </p:attrNameLst>
                                      </p:cBhvr>
                                      <p:to>
                                        <p:strVal val="visible"/>
                                      </p:to>
                                    </p:set>
                                    <p:animEffect transition="in" filter="fade">
                                      <p:cBhvr>
                                        <p:cTn id="145" dur="50"/>
                                        <p:tgtEl>
                                          <p:spTgt spid="4">
                                            <p:graphicEl>
                                              <a:dgm id="{D1EF3942-842E-42C7-8026-E3C76461607B}"/>
                                            </p:graphicEl>
                                          </p:spTgt>
                                        </p:tgtEl>
                                      </p:cBhvr>
                                    </p:animEffect>
                                  </p:childTnLst>
                                </p:cTn>
                              </p:par>
                            </p:childTnLst>
                          </p:cTn>
                        </p:par>
                        <p:par>
                          <p:cTn id="146" fill="hold">
                            <p:stCondLst>
                              <p:cond delay="2050"/>
                            </p:stCondLst>
                            <p:childTnLst>
                              <p:par>
                                <p:cTn id="147" presetID="10" presetClass="entr" presetSubtype="0" fill="hold" grpId="0" nodeType="afterEffect">
                                  <p:stCondLst>
                                    <p:cond delay="0"/>
                                  </p:stCondLst>
                                  <p:childTnLst>
                                    <p:set>
                                      <p:cBhvr>
                                        <p:cTn id="148" dur="1" fill="hold">
                                          <p:stCondLst>
                                            <p:cond delay="0"/>
                                          </p:stCondLst>
                                        </p:cTn>
                                        <p:tgtEl>
                                          <p:spTgt spid="4">
                                            <p:graphicEl>
                                              <a:dgm id="{0C6D0EC8-91E8-4AA8-93C0-4DAA11895146}"/>
                                            </p:graphicEl>
                                          </p:spTgt>
                                        </p:tgtEl>
                                        <p:attrNameLst>
                                          <p:attrName>style.visibility</p:attrName>
                                        </p:attrNameLst>
                                      </p:cBhvr>
                                      <p:to>
                                        <p:strVal val="visible"/>
                                      </p:to>
                                    </p:set>
                                    <p:animEffect transition="in" filter="fade">
                                      <p:cBhvr>
                                        <p:cTn id="149" dur="50"/>
                                        <p:tgtEl>
                                          <p:spTgt spid="4">
                                            <p:graphicEl>
                                              <a:dgm id="{0C6D0EC8-91E8-4AA8-93C0-4DAA11895146}"/>
                                            </p:graphicEl>
                                          </p:spTgt>
                                        </p:tgtEl>
                                      </p:cBhvr>
                                    </p:animEffect>
                                  </p:childTnLst>
                                </p:cTn>
                              </p:par>
                            </p:childTnLst>
                          </p:cTn>
                        </p:par>
                        <p:par>
                          <p:cTn id="150" fill="hold">
                            <p:stCondLst>
                              <p:cond delay="2100"/>
                            </p:stCondLst>
                            <p:childTnLst>
                              <p:par>
                                <p:cTn id="151" presetID="10" presetClass="entr" presetSubtype="0" fill="hold" grpId="0" nodeType="afterEffect">
                                  <p:stCondLst>
                                    <p:cond delay="0"/>
                                  </p:stCondLst>
                                  <p:childTnLst>
                                    <p:set>
                                      <p:cBhvr>
                                        <p:cTn id="152" dur="1" fill="hold">
                                          <p:stCondLst>
                                            <p:cond delay="0"/>
                                          </p:stCondLst>
                                        </p:cTn>
                                        <p:tgtEl>
                                          <p:spTgt spid="4">
                                            <p:graphicEl>
                                              <a:dgm id="{4F4A972E-72CA-4840-B62A-B0BADCE79ED7}"/>
                                            </p:graphicEl>
                                          </p:spTgt>
                                        </p:tgtEl>
                                        <p:attrNameLst>
                                          <p:attrName>style.visibility</p:attrName>
                                        </p:attrNameLst>
                                      </p:cBhvr>
                                      <p:to>
                                        <p:strVal val="visible"/>
                                      </p:to>
                                    </p:set>
                                    <p:animEffect transition="in" filter="fade">
                                      <p:cBhvr>
                                        <p:cTn id="153" dur="50"/>
                                        <p:tgtEl>
                                          <p:spTgt spid="4">
                                            <p:graphicEl>
                                              <a:dgm id="{4F4A972E-72CA-4840-B62A-B0BADCE79ED7}"/>
                                            </p:graphicEl>
                                          </p:spTgt>
                                        </p:tgtEl>
                                      </p:cBhvr>
                                    </p:animEffect>
                                  </p:childTnLst>
                                </p:cTn>
                              </p:par>
                            </p:childTnLst>
                          </p:cTn>
                        </p:par>
                        <p:par>
                          <p:cTn id="154" fill="hold">
                            <p:stCondLst>
                              <p:cond delay="2150"/>
                            </p:stCondLst>
                            <p:childTnLst>
                              <p:par>
                                <p:cTn id="155" presetID="10" presetClass="entr" presetSubtype="0" fill="hold" grpId="0" nodeType="afterEffect">
                                  <p:stCondLst>
                                    <p:cond delay="0"/>
                                  </p:stCondLst>
                                  <p:childTnLst>
                                    <p:set>
                                      <p:cBhvr>
                                        <p:cTn id="156" dur="1" fill="hold">
                                          <p:stCondLst>
                                            <p:cond delay="0"/>
                                          </p:stCondLst>
                                        </p:cTn>
                                        <p:tgtEl>
                                          <p:spTgt spid="4">
                                            <p:graphicEl>
                                              <a:dgm id="{BD011702-8998-41EE-B415-A8D2C315083E}"/>
                                            </p:graphicEl>
                                          </p:spTgt>
                                        </p:tgtEl>
                                        <p:attrNameLst>
                                          <p:attrName>style.visibility</p:attrName>
                                        </p:attrNameLst>
                                      </p:cBhvr>
                                      <p:to>
                                        <p:strVal val="visible"/>
                                      </p:to>
                                    </p:set>
                                    <p:animEffect transition="in" filter="fade">
                                      <p:cBhvr>
                                        <p:cTn id="157" dur="50"/>
                                        <p:tgtEl>
                                          <p:spTgt spid="4">
                                            <p:graphicEl>
                                              <a:dgm id="{BD011702-8998-41EE-B415-A8D2C315083E}"/>
                                            </p:graphicEl>
                                          </p:spTgt>
                                        </p:tgtEl>
                                      </p:cBhvr>
                                    </p:animEffect>
                                  </p:childTnLst>
                                </p:cTn>
                              </p:par>
                            </p:childTnLst>
                          </p:cTn>
                        </p:par>
                        <p:par>
                          <p:cTn id="158" fill="hold">
                            <p:stCondLst>
                              <p:cond delay="2200"/>
                            </p:stCondLst>
                            <p:childTnLst>
                              <p:par>
                                <p:cTn id="159" presetID="10" presetClass="entr" presetSubtype="0" fill="hold" grpId="0" nodeType="afterEffect">
                                  <p:stCondLst>
                                    <p:cond delay="0"/>
                                  </p:stCondLst>
                                  <p:childTnLst>
                                    <p:set>
                                      <p:cBhvr>
                                        <p:cTn id="160" dur="1" fill="hold">
                                          <p:stCondLst>
                                            <p:cond delay="0"/>
                                          </p:stCondLst>
                                        </p:cTn>
                                        <p:tgtEl>
                                          <p:spTgt spid="4">
                                            <p:graphicEl>
                                              <a:dgm id="{F02FB910-ADDF-4AC5-A639-4073D8E42C11}"/>
                                            </p:graphicEl>
                                          </p:spTgt>
                                        </p:tgtEl>
                                        <p:attrNameLst>
                                          <p:attrName>style.visibility</p:attrName>
                                        </p:attrNameLst>
                                      </p:cBhvr>
                                      <p:to>
                                        <p:strVal val="visible"/>
                                      </p:to>
                                    </p:set>
                                    <p:animEffect transition="in" filter="fade">
                                      <p:cBhvr>
                                        <p:cTn id="161" dur="50"/>
                                        <p:tgtEl>
                                          <p:spTgt spid="4">
                                            <p:graphicEl>
                                              <a:dgm id="{F02FB910-ADDF-4AC5-A639-4073D8E42C11}"/>
                                            </p:graphicEl>
                                          </p:spTgt>
                                        </p:tgtEl>
                                      </p:cBhvr>
                                    </p:animEffect>
                                  </p:childTnLst>
                                </p:cTn>
                              </p:par>
                            </p:childTnLst>
                          </p:cTn>
                        </p:par>
                        <p:par>
                          <p:cTn id="162" fill="hold">
                            <p:stCondLst>
                              <p:cond delay="2250"/>
                            </p:stCondLst>
                            <p:childTnLst>
                              <p:par>
                                <p:cTn id="163" presetID="10" presetClass="entr" presetSubtype="0" fill="hold" grpId="0" nodeType="afterEffect">
                                  <p:stCondLst>
                                    <p:cond delay="0"/>
                                  </p:stCondLst>
                                  <p:childTnLst>
                                    <p:set>
                                      <p:cBhvr>
                                        <p:cTn id="164" dur="1" fill="hold">
                                          <p:stCondLst>
                                            <p:cond delay="0"/>
                                          </p:stCondLst>
                                        </p:cTn>
                                        <p:tgtEl>
                                          <p:spTgt spid="4">
                                            <p:graphicEl>
                                              <a:dgm id="{9A6C5FE0-4D4B-452C-A8B5-F1E8995AC4EC}"/>
                                            </p:graphicEl>
                                          </p:spTgt>
                                        </p:tgtEl>
                                        <p:attrNameLst>
                                          <p:attrName>style.visibility</p:attrName>
                                        </p:attrNameLst>
                                      </p:cBhvr>
                                      <p:to>
                                        <p:strVal val="visible"/>
                                      </p:to>
                                    </p:set>
                                    <p:animEffect transition="in" filter="fade">
                                      <p:cBhvr>
                                        <p:cTn id="165" dur="50"/>
                                        <p:tgtEl>
                                          <p:spTgt spid="4">
                                            <p:graphicEl>
                                              <a:dgm id="{9A6C5FE0-4D4B-452C-A8B5-F1E8995AC4EC}"/>
                                            </p:graphicEl>
                                          </p:spTgt>
                                        </p:tgtEl>
                                      </p:cBhvr>
                                    </p:animEffect>
                                  </p:childTnLst>
                                </p:cTn>
                              </p:par>
                            </p:childTnLst>
                          </p:cTn>
                        </p:par>
                        <p:par>
                          <p:cTn id="166" fill="hold">
                            <p:stCondLst>
                              <p:cond delay="2300"/>
                            </p:stCondLst>
                            <p:childTnLst>
                              <p:par>
                                <p:cTn id="167" presetID="10" presetClass="entr" presetSubtype="0" fill="hold" grpId="0" nodeType="afterEffect">
                                  <p:stCondLst>
                                    <p:cond delay="0"/>
                                  </p:stCondLst>
                                  <p:childTnLst>
                                    <p:set>
                                      <p:cBhvr>
                                        <p:cTn id="168" dur="1" fill="hold">
                                          <p:stCondLst>
                                            <p:cond delay="0"/>
                                          </p:stCondLst>
                                        </p:cTn>
                                        <p:tgtEl>
                                          <p:spTgt spid="4">
                                            <p:graphicEl>
                                              <a:dgm id="{B417144F-D885-4962-80C5-215F38407005}"/>
                                            </p:graphicEl>
                                          </p:spTgt>
                                        </p:tgtEl>
                                        <p:attrNameLst>
                                          <p:attrName>style.visibility</p:attrName>
                                        </p:attrNameLst>
                                      </p:cBhvr>
                                      <p:to>
                                        <p:strVal val="visible"/>
                                      </p:to>
                                    </p:set>
                                    <p:animEffect transition="in" filter="fade">
                                      <p:cBhvr>
                                        <p:cTn id="169" dur="50"/>
                                        <p:tgtEl>
                                          <p:spTgt spid="4">
                                            <p:graphicEl>
                                              <a:dgm id="{B417144F-D885-4962-80C5-215F38407005}"/>
                                            </p:graphicEl>
                                          </p:spTgt>
                                        </p:tgtEl>
                                      </p:cBhvr>
                                    </p:animEffect>
                                  </p:childTnLst>
                                </p:cTn>
                              </p:par>
                            </p:childTnLst>
                          </p:cTn>
                        </p:par>
                        <p:par>
                          <p:cTn id="170" fill="hold">
                            <p:stCondLst>
                              <p:cond delay="2350"/>
                            </p:stCondLst>
                            <p:childTnLst>
                              <p:par>
                                <p:cTn id="171" presetID="10" presetClass="entr" presetSubtype="0" fill="hold" grpId="0" nodeType="afterEffect">
                                  <p:stCondLst>
                                    <p:cond delay="0"/>
                                  </p:stCondLst>
                                  <p:childTnLst>
                                    <p:set>
                                      <p:cBhvr>
                                        <p:cTn id="172" dur="1" fill="hold">
                                          <p:stCondLst>
                                            <p:cond delay="0"/>
                                          </p:stCondLst>
                                        </p:cTn>
                                        <p:tgtEl>
                                          <p:spTgt spid="4">
                                            <p:graphicEl>
                                              <a:dgm id="{0BCA77FD-E046-461D-B327-59DCFFA6FD91}"/>
                                            </p:graphicEl>
                                          </p:spTgt>
                                        </p:tgtEl>
                                        <p:attrNameLst>
                                          <p:attrName>style.visibility</p:attrName>
                                        </p:attrNameLst>
                                      </p:cBhvr>
                                      <p:to>
                                        <p:strVal val="visible"/>
                                      </p:to>
                                    </p:set>
                                    <p:animEffect transition="in" filter="fade">
                                      <p:cBhvr>
                                        <p:cTn id="173" dur="50"/>
                                        <p:tgtEl>
                                          <p:spTgt spid="4">
                                            <p:graphicEl>
                                              <a:dgm id="{0BCA77FD-E046-461D-B327-59DCFFA6FD91}"/>
                                            </p:graphicEl>
                                          </p:spTgt>
                                        </p:tgtEl>
                                      </p:cBhvr>
                                    </p:animEffect>
                                  </p:childTnLst>
                                </p:cTn>
                              </p:par>
                            </p:childTnLst>
                          </p:cTn>
                        </p:par>
                        <p:par>
                          <p:cTn id="174" fill="hold">
                            <p:stCondLst>
                              <p:cond delay="2400"/>
                            </p:stCondLst>
                            <p:childTnLst>
                              <p:par>
                                <p:cTn id="175" presetID="10" presetClass="entr" presetSubtype="0" fill="hold" grpId="0" nodeType="afterEffect">
                                  <p:stCondLst>
                                    <p:cond delay="0"/>
                                  </p:stCondLst>
                                  <p:childTnLst>
                                    <p:set>
                                      <p:cBhvr>
                                        <p:cTn id="176" dur="1" fill="hold">
                                          <p:stCondLst>
                                            <p:cond delay="0"/>
                                          </p:stCondLst>
                                        </p:cTn>
                                        <p:tgtEl>
                                          <p:spTgt spid="4">
                                            <p:graphicEl>
                                              <a:dgm id="{48EF267A-E4C9-4877-83F8-DF0A4487535B}"/>
                                            </p:graphicEl>
                                          </p:spTgt>
                                        </p:tgtEl>
                                        <p:attrNameLst>
                                          <p:attrName>style.visibility</p:attrName>
                                        </p:attrNameLst>
                                      </p:cBhvr>
                                      <p:to>
                                        <p:strVal val="visible"/>
                                      </p:to>
                                    </p:set>
                                    <p:animEffect transition="in" filter="fade">
                                      <p:cBhvr>
                                        <p:cTn id="177" dur="50"/>
                                        <p:tgtEl>
                                          <p:spTgt spid="4">
                                            <p:graphicEl>
                                              <a:dgm id="{48EF267A-E4C9-4877-83F8-DF0A4487535B}"/>
                                            </p:graphicEl>
                                          </p:spTgt>
                                        </p:tgtEl>
                                      </p:cBhvr>
                                    </p:animEffect>
                                  </p:childTnLst>
                                </p:cTn>
                              </p:par>
                            </p:childTnLst>
                          </p:cTn>
                        </p:par>
                        <p:par>
                          <p:cTn id="178" fill="hold">
                            <p:stCondLst>
                              <p:cond delay="2450"/>
                            </p:stCondLst>
                            <p:childTnLst>
                              <p:par>
                                <p:cTn id="179" presetID="10" presetClass="entr" presetSubtype="0" fill="hold" grpId="0" nodeType="afterEffect">
                                  <p:stCondLst>
                                    <p:cond delay="0"/>
                                  </p:stCondLst>
                                  <p:childTnLst>
                                    <p:set>
                                      <p:cBhvr>
                                        <p:cTn id="180" dur="1" fill="hold">
                                          <p:stCondLst>
                                            <p:cond delay="0"/>
                                          </p:stCondLst>
                                        </p:cTn>
                                        <p:tgtEl>
                                          <p:spTgt spid="4">
                                            <p:graphicEl>
                                              <a:dgm id="{348ACDFD-AF55-4D90-B42C-2C91A33C3EE1}"/>
                                            </p:graphicEl>
                                          </p:spTgt>
                                        </p:tgtEl>
                                        <p:attrNameLst>
                                          <p:attrName>style.visibility</p:attrName>
                                        </p:attrNameLst>
                                      </p:cBhvr>
                                      <p:to>
                                        <p:strVal val="visible"/>
                                      </p:to>
                                    </p:set>
                                    <p:animEffect transition="in" filter="fade">
                                      <p:cBhvr>
                                        <p:cTn id="181" dur="500"/>
                                        <p:tgtEl>
                                          <p:spTgt spid="4">
                                            <p:graphicEl>
                                              <a:dgm id="{348ACDFD-AF55-4D90-B42C-2C91A33C3EE1}"/>
                                            </p:graphicEl>
                                          </p:spTgt>
                                        </p:tgtEl>
                                      </p:cBhvr>
                                    </p:animEffect>
                                  </p:childTnLst>
                                </p:cTn>
                              </p:par>
                            </p:childTnLst>
                          </p:cTn>
                        </p:par>
                        <p:par>
                          <p:cTn id="182" fill="hold">
                            <p:stCondLst>
                              <p:cond delay="2950"/>
                            </p:stCondLst>
                            <p:childTnLst>
                              <p:par>
                                <p:cTn id="183" presetID="10" presetClass="entr" presetSubtype="0" fill="hold" grpId="0" nodeType="afterEffect">
                                  <p:stCondLst>
                                    <p:cond delay="0"/>
                                  </p:stCondLst>
                                  <p:childTnLst>
                                    <p:set>
                                      <p:cBhvr>
                                        <p:cTn id="184" dur="1" fill="hold">
                                          <p:stCondLst>
                                            <p:cond delay="0"/>
                                          </p:stCondLst>
                                        </p:cTn>
                                        <p:tgtEl>
                                          <p:spTgt spid="4">
                                            <p:graphicEl>
                                              <a:dgm id="{C9764691-399A-46B8-9CBE-03F2950E5EE6}"/>
                                            </p:graphicEl>
                                          </p:spTgt>
                                        </p:tgtEl>
                                        <p:attrNameLst>
                                          <p:attrName>style.visibility</p:attrName>
                                        </p:attrNameLst>
                                      </p:cBhvr>
                                      <p:to>
                                        <p:strVal val="visible"/>
                                      </p:to>
                                    </p:set>
                                    <p:animEffect transition="in" filter="fade">
                                      <p:cBhvr>
                                        <p:cTn id="185" dur="50"/>
                                        <p:tgtEl>
                                          <p:spTgt spid="4">
                                            <p:graphicEl>
                                              <a:dgm id="{C9764691-399A-46B8-9CBE-03F2950E5EE6}"/>
                                            </p:graphicEl>
                                          </p:spTgt>
                                        </p:tgtEl>
                                      </p:cBhvr>
                                    </p:animEffect>
                                  </p:childTnLst>
                                </p:cTn>
                              </p:par>
                            </p:childTnLst>
                          </p:cTn>
                        </p:par>
                        <p:par>
                          <p:cTn id="186" fill="hold">
                            <p:stCondLst>
                              <p:cond delay="3000"/>
                            </p:stCondLst>
                            <p:childTnLst>
                              <p:par>
                                <p:cTn id="187" presetID="10" presetClass="entr" presetSubtype="0" fill="hold" grpId="0" nodeType="afterEffect">
                                  <p:stCondLst>
                                    <p:cond delay="0"/>
                                  </p:stCondLst>
                                  <p:childTnLst>
                                    <p:set>
                                      <p:cBhvr>
                                        <p:cTn id="188" dur="1" fill="hold">
                                          <p:stCondLst>
                                            <p:cond delay="0"/>
                                          </p:stCondLst>
                                        </p:cTn>
                                        <p:tgtEl>
                                          <p:spTgt spid="4">
                                            <p:graphicEl>
                                              <a:dgm id="{E4D8F296-6C55-4120-9CC3-EECCB900B234}"/>
                                            </p:graphicEl>
                                          </p:spTgt>
                                        </p:tgtEl>
                                        <p:attrNameLst>
                                          <p:attrName>style.visibility</p:attrName>
                                        </p:attrNameLst>
                                      </p:cBhvr>
                                      <p:to>
                                        <p:strVal val="visible"/>
                                      </p:to>
                                    </p:set>
                                    <p:animEffect transition="in" filter="fade">
                                      <p:cBhvr>
                                        <p:cTn id="189" dur="50"/>
                                        <p:tgtEl>
                                          <p:spTgt spid="4">
                                            <p:graphicEl>
                                              <a:dgm id="{E4D8F296-6C55-4120-9CC3-EECCB900B234}"/>
                                            </p:graphicEl>
                                          </p:spTgt>
                                        </p:tgtEl>
                                      </p:cBhvr>
                                    </p:animEffect>
                                  </p:childTnLst>
                                </p:cTn>
                              </p:par>
                            </p:childTnLst>
                          </p:cTn>
                        </p:par>
                        <p:par>
                          <p:cTn id="190" fill="hold">
                            <p:stCondLst>
                              <p:cond delay="3050"/>
                            </p:stCondLst>
                            <p:childTnLst>
                              <p:par>
                                <p:cTn id="191" presetID="10" presetClass="entr" presetSubtype="0" fill="hold" grpId="0" nodeType="afterEffect">
                                  <p:stCondLst>
                                    <p:cond delay="0"/>
                                  </p:stCondLst>
                                  <p:childTnLst>
                                    <p:set>
                                      <p:cBhvr>
                                        <p:cTn id="192" dur="1" fill="hold">
                                          <p:stCondLst>
                                            <p:cond delay="0"/>
                                          </p:stCondLst>
                                        </p:cTn>
                                        <p:tgtEl>
                                          <p:spTgt spid="4">
                                            <p:graphicEl>
                                              <a:dgm id="{D0B21097-AD73-408B-8FDD-9A39020FFE01}"/>
                                            </p:graphicEl>
                                          </p:spTgt>
                                        </p:tgtEl>
                                        <p:attrNameLst>
                                          <p:attrName>style.visibility</p:attrName>
                                        </p:attrNameLst>
                                      </p:cBhvr>
                                      <p:to>
                                        <p:strVal val="visible"/>
                                      </p:to>
                                    </p:set>
                                    <p:animEffect transition="in" filter="fade">
                                      <p:cBhvr>
                                        <p:cTn id="193" dur="50"/>
                                        <p:tgtEl>
                                          <p:spTgt spid="4">
                                            <p:graphicEl>
                                              <a:dgm id="{D0B21097-AD73-408B-8FDD-9A39020FFE01}"/>
                                            </p:graphicEl>
                                          </p:spTgt>
                                        </p:tgtEl>
                                      </p:cBhvr>
                                    </p:animEffect>
                                  </p:childTnLst>
                                </p:cTn>
                              </p:par>
                            </p:childTnLst>
                          </p:cTn>
                        </p:par>
                        <p:par>
                          <p:cTn id="194" fill="hold">
                            <p:stCondLst>
                              <p:cond delay="3100"/>
                            </p:stCondLst>
                            <p:childTnLst>
                              <p:par>
                                <p:cTn id="195" presetID="10" presetClass="entr" presetSubtype="0" fill="hold" grpId="0" nodeType="afterEffect">
                                  <p:stCondLst>
                                    <p:cond delay="0"/>
                                  </p:stCondLst>
                                  <p:childTnLst>
                                    <p:set>
                                      <p:cBhvr>
                                        <p:cTn id="196" dur="1" fill="hold">
                                          <p:stCondLst>
                                            <p:cond delay="0"/>
                                          </p:stCondLst>
                                        </p:cTn>
                                        <p:tgtEl>
                                          <p:spTgt spid="4">
                                            <p:graphicEl>
                                              <a:dgm id="{5A45FCE3-666C-4E83-A602-3DA331060D34}"/>
                                            </p:graphicEl>
                                          </p:spTgt>
                                        </p:tgtEl>
                                        <p:attrNameLst>
                                          <p:attrName>style.visibility</p:attrName>
                                        </p:attrNameLst>
                                      </p:cBhvr>
                                      <p:to>
                                        <p:strVal val="visible"/>
                                      </p:to>
                                    </p:set>
                                    <p:animEffect transition="in" filter="fade">
                                      <p:cBhvr>
                                        <p:cTn id="197" dur="50"/>
                                        <p:tgtEl>
                                          <p:spTgt spid="4">
                                            <p:graphicEl>
                                              <a:dgm id="{5A45FCE3-666C-4E83-A602-3DA331060D34}"/>
                                            </p:graphicEl>
                                          </p:spTgt>
                                        </p:tgtEl>
                                      </p:cBhvr>
                                    </p:animEffect>
                                  </p:childTnLst>
                                </p:cTn>
                              </p:par>
                            </p:childTnLst>
                          </p:cTn>
                        </p:par>
                        <p:par>
                          <p:cTn id="198" fill="hold">
                            <p:stCondLst>
                              <p:cond delay="3150"/>
                            </p:stCondLst>
                            <p:childTnLst>
                              <p:par>
                                <p:cTn id="199" presetID="10" presetClass="entr" presetSubtype="0" fill="hold" grpId="0" nodeType="afterEffect">
                                  <p:stCondLst>
                                    <p:cond delay="0"/>
                                  </p:stCondLst>
                                  <p:childTnLst>
                                    <p:set>
                                      <p:cBhvr>
                                        <p:cTn id="200" dur="1" fill="hold">
                                          <p:stCondLst>
                                            <p:cond delay="0"/>
                                          </p:stCondLst>
                                        </p:cTn>
                                        <p:tgtEl>
                                          <p:spTgt spid="4">
                                            <p:graphicEl>
                                              <a:dgm id="{12DD6C6F-513C-4012-9B4F-FA36FB27D4FA}"/>
                                            </p:graphicEl>
                                          </p:spTgt>
                                        </p:tgtEl>
                                        <p:attrNameLst>
                                          <p:attrName>style.visibility</p:attrName>
                                        </p:attrNameLst>
                                      </p:cBhvr>
                                      <p:to>
                                        <p:strVal val="visible"/>
                                      </p:to>
                                    </p:set>
                                    <p:animEffect transition="in" filter="fade">
                                      <p:cBhvr>
                                        <p:cTn id="201" dur="50"/>
                                        <p:tgtEl>
                                          <p:spTgt spid="4">
                                            <p:graphicEl>
                                              <a:dgm id="{12DD6C6F-513C-4012-9B4F-FA36FB27D4FA}"/>
                                            </p:graphicEl>
                                          </p:spTgt>
                                        </p:tgtEl>
                                      </p:cBhvr>
                                    </p:animEffect>
                                  </p:childTnLst>
                                </p:cTn>
                              </p:par>
                            </p:childTnLst>
                          </p:cTn>
                        </p:par>
                        <p:par>
                          <p:cTn id="202" fill="hold">
                            <p:stCondLst>
                              <p:cond delay="3200"/>
                            </p:stCondLst>
                            <p:childTnLst>
                              <p:par>
                                <p:cTn id="203" presetID="10" presetClass="entr" presetSubtype="0" fill="hold" grpId="0" nodeType="afterEffect">
                                  <p:stCondLst>
                                    <p:cond delay="0"/>
                                  </p:stCondLst>
                                  <p:childTnLst>
                                    <p:set>
                                      <p:cBhvr>
                                        <p:cTn id="204" dur="1" fill="hold">
                                          <p:stCondLst>
                                            <p:cond delay="0"/>
                                          </p:stCondLst>
                                        </p:cTn>
                                        <p:tgtEl>
                                          <p:spTgt spid="4">
                                            <p:graphicEl>
                                              <a:dgm id="{4EF2B9A6-53D0-4783-8B94-73BB016716C4}"/>
                                            </p:graphicEl>
                                          </p:spTgt>
                                        </p:tgtEl>
                                        <p:attrNameLst>
                                          <p:attrName>style.visibility</p:attrName>
                                        </p:attrNameLst>
                                      </p:cBhvr>
                                      <p:to>
                                        <p:strVal val="visible"/>
                                      </p:to>
                                    </p:set>
                                    <p:animEffect transition="in" filter="fade">
                                      <p:cBhvr>
                                        <p:cTn id="205" dur="50"/>
                                        <p:tgtEl>
                                          <p:spTgt spid="4">
                                            <p:graphicEl>
                                              <a:dgm id="{4EF2B9A6-53D0-4783-8B94-73BB016716C4}"/>
                                            </p:graphicEl>
                                          </p:spTgt>
                                        </p:tgtEl>
                                      </p:cBhvr>
                                    </p:animEffect>
                                  </p:childTnLst>
                                </p:cTn>
                              </p:par>
                            </p:childTnLst>
                          </p:cTn>
                        </p:par>
                        <p:par>
                          <p:cTn id="206" fill="hold">
                            <p:stCondLst>
                              <p:cond delay="3250"/>
                            </p:stCondLst>
                            <p:childTnLst>
                              <p:par>
                                <p:cTn id="207" presetID="10" presetClass="entr" presetSubtype="0" fill="hold" grpId="0" nodeType="afterEffect">
                                  <p:stCondLst>
                                    <p:cond delay="0"/>
                                  </p:stCondLst>
                                  <p:childTnLst>
                                    <p:set>
                                      <p:cBhvr>
                                        <p:cTn id="208" dur="1" fill="hold">
                                          <p:stCondLst>
                                            <p:cond delay="0"/>
                                          </p:stCondLst>
                                        </p:cTn>
                                        <p:tgtEl>
                                          <p:spTgt spid="4">
                                            <p:graphicEl>
                                              <a:dgm id="{4B29C9AA-6D44-4047-84B4-7082061779FB}"/>
                                            </p:graphicEl>
                                          </p:spTgt>
                                        </p:tgtEl>
                                        <p:attrNameLst>
                                          <p:attrName>style.visibility</p:attrName>
                                        </p:attrNameLst>
                                      </p:cBhvr>
                                      <p:to>
                                        <p:strVal val="visible"/>
                                      </p:to>
                                    </p:set>
                                    <p:animEffect transition="in" filter="fade">
                                      <p:cBhvr>
                                        <p:cTn id="209" dur="50"/>
                                        <p:tgtEl>
                                          <p:spTgt spid="4">
                                            <p:graphicEl>
                                              <a:dgm id="{4B29C9AA-6D44-4047-84B4-7082061779FB}"/>
                                            </p:graphicEl>
                                          </p:spTgt>
                                        </p:tgtEl>
                                      </p:cBhvr>
                                    </p:animEffect>
                                  </p:childTnLst>
                                </p:cTn>
                              </p:par>
                            </p:childTnLst>
                          </p:cTn>
                        </p:par>
                        <p:par>
                          <p:cTn id="210" fill="hold">
                            <p:stCondLst>
                              <p:cond delay="3300"/>
                            </p:stCondLst>
                            <p:childTnLst>
                              <p:par>
                                <p:cTn id="211" presetID="10" presetClass="entr" presetSubtype="0" fill="hold" grpId="0" nodeType="afterEffect">
                                  <p:stCondLst>
                                    <p:cond delay="0"/>
                                  </p:stCondLst>
                                  <p:childTnLst>
                                    <p:set>
                                      <p:cBhvr>
                                        <p:cTn id="212" dur="1" fill="hold">
                                          <p:stCondLst>
                                            <p:cond delay="0"/>
                                          </p:stCondLst>
                                        </p:cTn>
                                        <p:tgtEl>
                                          <p:spTgt spid="4">
                                            <p:graphicEl>
                                              <a:dgm id="{8E083001-C032-4940-BBB7-4639385EAAB9}"/>
                                            </p:graphicEl>
                                          </p:spTgt>
                                        </p:tgtEl>
                                        <p:attrNameLst>
                                          <p:attrName>style.visibility</p:attrName>
                                        </p:attrNameLst>
                                      </p:cBhvr>
                                      <p:to>
                                        <p:strVal val="visible"/>
                                      </p:to>
                                    </p:set>
                                    <p:animEffect transition="in" filter="fade">
                                      <p:cBhvr>
                                        <p:cTn id="213" dur="50"/>
                                        <p:tgtEl>
                                          <p:spTgt spid="4">
                                            <p:graphicEl>
                                              <a:dgm id="{8E083001-C032-4940-BBB7-4639385EAAB9}"/>
                                            </p:graphicEl>
                                          </p:spTgt>
                                        </p:tgtEl>
                                      </p:cBhvr>
                                    </p:animEffect>
                                  </p:childTnLst>
                                </p:cTn>
                              </p:par>
                            </p:childTnLst>
                          </p:cTn>
                        </p:par>
                        <p:par>
                          <p:cTn id="214" fill="hold">
                            <p:stCondLst>
                              <p:cond delay="3350"/>
                            </p:stCondLst>
                            <p:childTnLst>
                              <p:par>
                                <p:cTn id="215" presetID="10" presetClass="entr" presetSubtype="0" fill="hold" grpId="0" nodeType="afterEffect">
                                  <p:stCondLst>
                                    <p:cond delay="0"/>
                                  </p:stCondLst>
                                  <p:childTnLst>
                                    <p:set>
                                      <p:cBhvr>
                                        <p:cTn id="216" dur="1" fill="hold">
                                          <p:stCondLst>
                                            <p:cond delay="0"/>
                                          </p:stCondLst>
                                        </p:cTn>
                                        <p:tgtEl>
                                          <p:spTgt spid="4">
                                            <p:graphicEl>
                                              <a:dgm id="{49BA51C3-9D30-4100-8F31-B6B14D1A800A}"/>
                                            </p:graphicEl>
                                          </p:spTgt>
                                        </p:tgtEl>
                                        <p:attrNameLst>
                                          <p:attrName>style.visibility</p:attrName>
                                        </p:attrNameLst>
                                      </p:cBhvr>
                                      <p:to>
                                        <p:strVal val="visible"/>
                                      </p:to>
                                    </p:set>
                                    <p:animEffect transition="in" filter="fade">
                                      <p:cBhvr>
                                        <p:cTn id="217" dur="50"/>
                                        <p:tgtEl>
                                          <p:spTgt spid="4">
                                            <p:graphicEl>
                                              <a:dgm id="{49BA51C3-9D30-4100-8F31-B6B14D1A800A}"/>
                                            </p:graphicEl>
                                          </p:spTgt>
                                        </p:tgtEl>
                                      </p:cBhvr>
                                    </p:animEffect>
                                  </p:childTnLst>
                                </p:cTn>
                              </p:par>
                            </p:childTnLst>
                          </p:cTn>
                        </p:par>
                        <p:par>
                          <p:cTn id="218" fill="hold">
                            <p:stCondLst>
                              <p:cond delay="3400"/>
                            </p:stCondLst>
                            <p:childTnLst>
                              <p:par>
                                <p:cTn id="219" presetID="10" presetClass="entr" presetSubtype="0" fill="hold" grpId="0" nodeType="afterEffect">
                                  <p:stCondLst>
                                    <p:cond delay="0"/>
                                  </p:stCondLst>
                                  <p:childTnLst>
                                    <p:set>
                                      <p:cBhvr>
                                        <p:cTn id="220" dur="1" fill="hold">
                                          <p:stCondLst>
                                            <p:cond delay="0"/>
                                          </p:stCondLst>
                                        </p:cTn>
                                        <p:tgtEl>
                                          <p:spTgt spid="4">
                                            <p:graphicEl>
                                              <a:dgm id="{2678433E-7686-4479-B0F5-4CE0AB8AB526}"/>
                                            </p:graphicEl>
                                          </p:spTgt>
                                        </p:tgtEl>
                                        <p:attrNameLst>
                                          <p:attrName>style.visibility</p:attrName>
                                        </p:attrNameLst>
                                      </p:cBhvr>
                                      <p:to>
                                        <p:strVal val="visible"/>
                                      </p:to>
                                    </p:set>
                                    <p:animEffect transition="in" filter="fade">
                                      <p:cBhvr>
                                        <p:cTn id="221" dur="50"/>
                                        <p:tgtEl>
                                          <p:spTgt spid="4">
                                            <p:graphicEl>
                                              <a:dgm id="{2678433E-7686-4479-B0F5-4CE0AB8AB526}"/>
                                            </p:graphicEl>
                                          </p:spTgt>
                                        </p:tgtEl>
                                      </p:cBhvr>
                                    </p:animEffect>
                                  </p:childTnLst>
                                </p:cTn>
                              </p:par>
                            </p:childTnLst>
                          </p:cTn>
                        </p:par>
                        <p:par>
                          <p:cTn id="222" fill="hold">
                            <p:stCondLst>
                              <p:cond delay="3450"/>
                            </p:stCondLst>
                            <p:childTnLst>
                              <p:par>
                                <p:cTn id="223" presetID="10" presetClass="entr" presetSubtype="0" fill="hold" grpId="0" nodeType="afterEffect">
                                  <p:stCondLst>
                                    <p:cond delay="0"/>
                                  </p:stCondLst>
                                  <p:childTnLst>
                                    <p:set>
                                      <p:cBhvr>
                                        <p:cTn id="224" dur="1" fill="hold">
                                          <p:stCondLst>
                                            <p:cond delay="0"/>
                                          </p:stCondLst>
                                        </p:cTn>
                                        <p:tgtEl>
                                          <p:spTgt spid="4">
                                            <p:graphicEl>
                                              <a:dgm id="{E4D9EA3B-9C88-4EF8-A936-DC96839989A3}"/>
                                            </p:graphicEl>
                                          </p:spTgt>
                                        </p:tgtEl>
                                        <p:attrNameLst>
                                          <p:attrName>style.visibility</p:attrName>
                                        </p:attrNameLst>
                                      </p:cBhvr>
                                      <p:to>
                                        <p:strVal val="visible"/>
                                      </p:to>
                                    </p:set>
                                    <p:animEffect transition="in" filter="fade">
                                      <p:cBhvr>
                                        <p:cTn id="225" dur="50"/>
                                        <p:tgtEl>
                                          <p:spTgt spid="4">
                                            <p:graphicEl>
                                              <a:dgm id="{E4D9EA3B-9C88-4EF8-A936-DC96839989A3}"/>
                                            </p:graphicEl>
                                          </p:spTgt>
                                        </p:tgtEl>
                                      </p:cBhvr>
                                    </p:animEffect>
                                  </p:childTnLst>
                                </p:cTn>
                              </p:par>
                            </p:childTnLst>
                          </p:cTn>
                        </p:par>
                        <p:par>
                          <p:cTn id="226" fill="hold">
                            <p:stCondLst>
                              <p:cond delay="3500"/>
                            </p:stCondLst>
                            <p:childTnLst>
                              <p:par>
                                <p:cTn id="227" presetID="10" presetClass="entr" presetSubtype="0" fill="hold" grpId="0" nodeType="afterEffect">
                                  <p:stCondLst>
                                    <p:cond delay="0"/>
                                  </p:stCondLst>
                                  <p:childTnLst>
                                    <p:set>
                                      <p:cBhvr>
                                        <p:cTn id="228" dur="1" fill="hold">
                                          <p:stCondLst>
                                            <p:cond delay="0"/>
                                          </p:stCondLst>
                                        </p:cTn>
                                        <p:tgtEl>
                                          <p:spTgt spid="4">
                                            <p:graphicEl>
                                              <a:dgm id="{3D71B88A-A5D7-4A20-BDFB-2825F272DFB1}"/>
                                            </p:graphicEl>
                                          </p:spTgt>
                                        </p:tgtEl>
                                        <p:attrNameLst>
                                          <p:attrName>style.visibility</p:attrName>
                                        </p:attrNameLst>
                                      </p:cBhvr>
                                      <p:to>
                                        <p:strVal val="visible"/>
                                      </p:to>
                                    </p:set>
                                    <p:animEffect transition="in" filter="fade">
                                      <p:cBhvr>
                                        <p:cTn id="229" dur="50"/>
                                        <p:tgtEl>
                                          <p:spTgt spid="4">
                                            <p:graphicEl>
                                              <a:dgm id="{3D71B88A-A5D7-4A20-BDFB-2825F272DFB1}"/>
                                            </p:graphicEl>
                                          </p:spTgt>
                                        </p:tgtEl>
                                      </p:cBhvr>
                                    </p:animEffect>
                                  </p:childTnLst>
                                </p:cTn>
                              </p:par>
                            </p:childTnLst>
                          </p:cTn>
                        </p:par>
                        <p:par>
                          <p:cTn id="230" fill="hold">
                            <p:stCondLst>
                              <p:cond delay="3550"/>
                            </p:stCondLst>
                            <p:childTnLst>
                              <p:par>
                                <p:cTn id="231" presetID="10" presetClass="entr" presetSubtype="0" fill="hold" grpId="0" nodeType="afterEffect">
                                  <p:stCondLst>
                                    <p:cond delay="0"/>
                                  </p:stCondLst>
                                  <p:childTnLst>
                                    <p:set>
                                      <p:cBhvr>
                                        <p:cTn id="232" dur="1" fill="hold">
                                          <p:stCondLst>
                                            <p:cond delay="0"/>
                                          </p:stCondLst>
                                        </p:cTn>
                                        <p:tgtEl>
                                          <p:spTgt spid="4">
                                            <p:graphicEl>
                                              <a:dgm id="{6DB7A01E-0D13-40A6-9A12-6510D1C6BE60}"/>
                                            </p:graphicEl>
                                          </p:spTgt>
                                        </p:tgtEl>
                                        <p:attrNameLst>
                                          <p:attrName>style.visibility</p:attrName>
                                        </p:attrNameLst>
                                      </p:cBhvr>
                                      <p:to>
                                        <p:strVal val="visible"/>
                                      </p:to>
                                    </p:set>
                                    <p:animEffect transition="in" filter="fade">
                                      <p:cBhvr>
                                        <p:cTn id="233" dur="50"/>
                                        <p:tgtEl>
                                          <p:spTgt spid="4">
                                            <p:graphicEl>
                                              <a:dgm id="{6DB7A01E-0D13-40A6-9A12-6510D1C6BE60}"/>
                                            </p:graphicEl>
                                          </p:spTgt>
                                        </p:tgtEl>
                                      </p:cBhvr>
                                    </p:animEffect>
                                  </p:childTnLst>
                                </p:cTn>
                              </p:par>
                            </p:childTnLst>
                          </p:cTn>
                        </p:par>
                        <p:par>
                          <p:cTn id="234" fill="hold">
                            <p:stCondLst>
                              <p:cond delay="3600"/>
                            </p:stCondLst>
                            <p:childTnLst>
                              <p:par>
                                <p:cTn id="235" presetID="10" presetClass="entr" presetSubtype="0" fill="hold" grpId="0" nodeType="afterEffect">
                                  <p:stCondLst>
                                    <p:cond delay="0"/>
                                  </p:stCondLst>
                                  <p:childTnLst>
                                    <p:set>
                                      <p:cBhvr>
                                        <p:cTn id="236" dur="1" fill="hold">
                                          <p:stCondLst>
                                            <p:cond delay="0"/>
                                          </p:stCondLst>
                                        </p:cTn>
                                        <p:tgtEl>
                                          <p:spTgt spid="4">
                                            <p:graphicEl>
                                              <a:dgm id="{7659B58F-472D-49E2-9DC7-E64F55706520}"/>
                                            </p:graphicEl>
                                          </p:spTgt>
                                        </p:tgtEl>
                                        <p:attrNameLst>
                                          <p:attrName>style.visibility</p:attrName>
                                        </p:attrNameLst>
                                      </p:cBhvr>
                                      <p:to>
                                        <p:strVal val="visible"/>
                                      </p:to>
                                    </p:set>
                                    <p:animEffect transition="in" filter="fade">
                                      <p:cBhvr>
                                        <p:cTn id="237" dur="50"/>
                                        <p:tgtEl>
                                          <p:spTgt spid="4">
                                            <p:graphicEl>
                                              <a:dgm id="{7659B58F-472D-49E2-9DC7-E64F55706520}"/>
                                            </p:graphicEl>
                                          </p:spTgt>
                                        </p:tgtEl>
                                      </p:cBhvr>
                                    </p:animEffect>
                                  </p:childTnLst>
                                </p:cTn>
                              </p:par>
                            </p:childTnLst>
                          </p:cTn>
                        </p:par>
                        <p:par>
                          <p:cTn id="238" fill="hold">
                            <p:stCondLst>
                              <p:cond delay="3650"/>
                            </p:stCondLst>
                            <p:childTnLst>
                              <p:par>
                                <p:cTn id="239" presetID="10" presetClass="entr" presetSubtype="0" fill="hold" grpId="0" nodeType="afterEffect">
                                  <p:stCondLst>
                                    <p:cond delay="0"/>
                                  </p:stCondLst>
                                  <p:childTnLst>
                                    <p:set>
                                      <p:cBhvr>
                                        <p:cTn id="240" dur="1" fill="hold">
                                          <p:stCondLst>
                                            <p:cond delay="0"/>
                                          </p:stCondLst>
                                        </p:cTn>
                                        <p:tgtEl>
                                          <p:spTgt spid="4">
                                            <p:graphicEl>
                                              <a:dgm id="{981B53A0-BE63-4441-BE65-954B3C83BA2A}"/>
                                            </p:graphicEl>
                                          </p:spTgt>
                                        </p:tgtEl>
                                        <p:attrNameLst>
                                          <p:attrName>style.visibility</p:attrName>
                                        </p:attrNameLst>
                                      </p:cBhvr>
                                      <p:to>
                                        <p:strVal val="visible"/>
                                      </p:to>
                                    </p:set>
                                    <p:animEffect transition="in" filter="fade">
                                      <p:cBhvr>
                                        <p:cTn id="241" dur="50"/>
                                        <p:tgtEl>
                                          <p:spTgt spid="4">
                                            <p:graphicEl>
                                              <a:dgm id="{981B53A0-BE63-4441-BE65-954B3C83BA2A}"/>
                                            </p:graphicEl>
                                          </p:spTgt>
                                        </p:tgtEl>
                                      </p:cBhvr>
                                    </p:animEffect>
                                  </p:childTnLst>
                                </p:cTn>
                              </p:par>
                            </p:childTnLst>
                          </p:cTn>
                        </p:par>
                        <p:par>
                          <p:cTn id="242" fill="hold">
                            <p:stCondLst>
                              <p:cond delay="3700"/>
                            </p:stCondLst>
                            <p:childTnLst>
                              <p:par>
                                <p:cTn id="243" presetID="10" presetClass="entr" presetSubtype="0" fill="hold" grpId="0" nodeType="afterEffect">
                                  <p:stCondLst>
                                    <p:cond delay="0"/>
                                  </p:stCondLst>
                                  <p:childTnLst>
                                    <p:set>
                                      <p:cBhvr>
                                        <p:cTn id="244" dur="1" fill="hold">
                                          <p:stCondLst>
                                            <p:cond delay="0"/>
                                          </p:stCondLst>
                                        </p:cTn>
                                        <p:tgtEl>
                                          <p:spTgt spid="4">
                                            <p:graphicEl>
                                              <a:dgm id="{31EB587D-09D1-42F6-8FA5-E1741080F3E3}"/>
                                            </p:graphicEl>
                                          </p:spTgt>
                                        </p:tgtEl>
                                        <p:attrNameLst>
                                          <p:attrName>style.visibility</p:attrName>
                                        </p:attrNameLst>
                                      </p:cBhvr>
                                      <p:to>
                                        <p:strVal val="visible"/>
                                      </p:to>
                                    </p:set>
                                    <p:animEffect transition="in" filter="fade">
                                      <p:cBhvr>
                                        <p:cTn id="245" dur="50"/>
                                        <p:tgtEl>
                                          <p:spTgt spid="4">
                                            <p:graphicEl>
                                              <a:dgm id="{31EB587D-09D1-42F6-8FA5-E1741080F3E3}"/>
                                            </p:graphicEl>
                                          </p:spTgt>
                                        </p:tgtEl>
                                      </p:cBhvr>
                                    </p:animEffect>
                                  </p:childTnLst>
                                </p:cTn>
                              </p:par>
                            </p:childTnLst>
                          </p:cTn>
                        </p:par>
                        <p:par>
                          <p:cTn id="246" fill="hold">
                            <p:stCondLst>
                              <p:cond delay="3750"/>
                            </p:stCondLst>
                            <p:childTnLst>
                              <p:par>
                                <p:cTn id="247" presetID="10" presetClass="entr" presetSubtype="0" fill="hold" grpId="0" nodeType="afterEffect">
                                  <p:stCondLst>
                                    <p:cond delay="0"/>
                                  </p:stCondLst>
                                  <p:childTnLst>
                                    <p:set>
                                      <p:cBhvr>
                                        <p:cTn id="248" dur="1" fill="hold">
                                          <p:stCondLst>
                                            <p:cond delay="0"/>
                                          </p:stCondLst>
                                        </p:cTn>
                                        <p:tgtEl>
                                          <p:spTgt spid="4">
                                            <p:graphicEl>
                                              <a:dgm id="{6A9F2E91-DBBC-4719-80DB-4557AC3C06D5}"/>
                                            </p:graphicEl>
                                          </p:spTgt>
                                        </p:tgtEl>
                                        <p:attrNameLst>
                                          <p:attrName>style.visibility</p:attrName>
                                        </p:attrNameLst>
                                      </p:cBhvr>
                                      <p:to>
                                        <p:strVal val="visible"/>
                                      </p:to>
                                    </p:set>
                                    <p:animEffect transition="in" filter="fade">
                                      <p:cBhvr>
                                        <p:cTn id="249" dur="50"/>
                                        <p:tgtEl>
                                          <p:spTgt spid="4">
                                            <p:graphicEl>
                                              <a:dgm id="{6A9F2E91-DBBC-4719-80DB-4557AC3C06D5}"/>
                                            </p:graphicEl>
                                          </p:spTgt>
                                        </p:tgtEl>
                                      </p:cBhvr>
                                    </p:animEffect>
                                  </p:childTnLst>
                                </p:cTn>
                              </p:par>
                            </p:childTnLst>
                          </p:cTn>
                        </p:par>
                        <p:par>
                          <p:cTn id="250" fill="hold">
                            <p:stCondLst>
                              <p:cond delay="3800"/>
                            </p:stCondLst>
                            <p:childTnLst>
                              <p:par>
                                <p:cTn id="251" presetID="10" presetClass="entr" presetSubtype="0" fill="hold" grpId="0" nodeType="afterEffect">
                                  <p:stCondLst>
                                    <p:cond delay="0"/>
                                  </p:stCondLst>
                                  <p:childTnLst>
                                    <p:set>
                                      <p:cBhvr>
                                        <p:cTn id="252" dur="1" fill="hold">
                                          <p:stCondLst>
                                            <p:cond delay="0"/>
                                          </p:stCondLst>
                                        </p:cTn>
                                        <p:tgtEl>
                                          <p:spTgt spid="4">
                                            <p:graphicEl>
                                              <a:dgm id="{BA1ACC70-9181-4C6E-B8CC-A153DF4F3F5A}"/>
                                            </p:graphicEl>
                                          </p:spTgt>
                                        </p:tgtEl>
                                        <p:attrNameLst>
                                          <p:attrName>style.visibility</p:attrName>
                                        </p:attrNameLst>
                                      </p:cBhvr>
                                      <p:to>
                                        <p:strVal val="visible"/>
                                      </p:to>
                                    </p:set>
                                    <p:animEffect transition="in" filter="fade">
                                      <p:cBhvr>
                                        <p:cTn id="253" dur="50"/>
                                        <p:tgtEl>
                                          <p:spTgt spid="4">
                                            <p:graphicEl>
                                              <a:dgm id="{BA1ACC70-9181-4C6E-B8CC-A153DF4F3F5A}"/>
                                            </p:graphicEl>
                                          </p:spTgt>
                                        </p:tgtEl>
                                      </p:cBhvr>
                                    </p:animEffect>
                                  </p:childTnLst>
                                </p:cTn>
                              </p:par>
                            </p:childTnLst>
                          </p:cTn>
                        </p:par>
                        <p:par>
                          <p:cTn id="254" fill="hold">
                            <p:stCondLst>
                              <p:cond delay="3850"/>
                            </p:stCondLst>
                            <p:childTnLst>
                              <p:par>
                                <p:cTn id="255" presetID="10" presetClass="entr" presetSubtype="0" fill="hold" grpId="0" nodeType="afterEffect">
                                  <p:stCondLst>
                                    <p:cond delay="0"/>
                                  </p:stCondLst>
                                  <p:childTnLst>
                                    <p:set>
                                      <p:cBhvr>
                                        <p:cTn id="256" dur="1" fill="hold">
                                          <p:stCondLst>
                                            <p:cond delay="0"/>
                                          </p:stCondLst>
                                        </p:cTn>
                                        <p:tgtEl>
                                          <p:spTgt spid="4">
                                            <p:graphicEl>
                                              <a:dgm id="{DC490CB3-BB1A-4B9E-8AA5-5C705DC7A072}"/>
                                            </p:graphicEl>
                                          </p:spTgt>
                                        </p:tgtEl>
                                        <p:attrNameLst>
                                          <p:attrName>style.visibility</p:attrName>
                                        </p:attrNameLst>
                                      </p:cBhvr>
                                      <p:to>
                                        <p:strVal val="visible"/>
                                      </p:to>
                                    </p:set>
                                    <p:animEffect transition="in" filter="fade">
                                      <p:cBhvr>
                                        <p:cTn id="257" dur="50"/>
                                        <p:tgtEl>
                                          <p:spTgt spid="4">
                                            <p:graphicEl>
                                              <a:dgm id="{DC490CB3-BB1A-4B9E-8AA5-5C705DC7A072}"/>
                                            </p:graphicEl>
                                          </p:spTgt>
                                        </p:tgtEl>
                                      </p:cBhvr>
                                    </p:animEffect>
                                  </p:childTnLst>
                                </p:cTn>
                              </p:par>
                            </p:childTnLst>
                          </p:cTn>
                        </p:par>
                        <p:par>
                          <p:cTn id="258" fill="hold">
                            <p:stCondLst>
                              <p:cond delay="3900"/>
                            </p:stCondLst>
                            <p:childTnLst>
                              <p:par>
                                <p:cTn id="259" presetID="10" presetClass="entr" presetSubtype="0" fill="hold" grpId="0" nodeType="afterEffect">
                                  <p:stCondLst>
                                    <p:cond delay="0"/>
                                  </p:stCondLst>
                                  <p:childTnLst>
                                    <p:set>
                                      <p:cBhvr>
                                        <p:cTn id="260" dur="1" fill="hold">
                                          <p:stCondLst>
                                            <p:cond delay="0"/>
                                          </p:stCondLst>
                                        </p:cTn>
                                        <p:tgtEl>
                                          <p:spTgt spid="4">
                                            <p:graphicEl>
                                              <a:dgm id="{AE0774D0-FB4F-4139-A60F-B607DEF3872B}"/>
                                            </p:graphicEl>
                                          </p:spTgt>
                                        </p:tgtEl>
                                        <p:attrNameLst>
                                          <p:attrName>style.visibility</p:attrName>
                                        </p:attrNameLst>
                                      </p:cBhvr>
                                      <p:to>
                                        <p:strVal val="visible"/>
                                      </p:to>
                                    </p:set>
                                    <p:animEffect transition="in" filter="fade">
                                      <p:cBhvr>
                                        <p:cTn id="261" dur="50"/>
                                        <p:tgtEl>
                                          <p:spTgt spid="4">
                                            <p:graphicEl>
                                              <a:dgm id="{AE0774D0-FB4F-4139-A60F-B607DEF3872B}"/>
                                            </p:graphicEl>
                                          </p:spTgt>
                                        </p:tgtEl>
                                      </p:cBhvr>
                                    </p:animEffect>
                                  </p:childTnLst>
                                </p:cTn>
                              </p:par>
                            </p:childTnLst>
                          </p:cTn>
                        </p:par>
                        <p:par>
                          <p:cTn id="262" fill="hold">
                            <p:stCondLst>
                              <p:cond delay="3950"/>
                            </p:stCondLst>
                            <p:childTnLst>
                              <p:par>
                                <p:cTn id="263" presetID="10" presetClass="entr" presetSubtype="0" fill="hold" grpId="0" nodeType="afterEffect">
                                  <p:stCondLst>
                                    <p:cond delay="0"/>
                                  </p:stCondLst>
                                  <p:childTnLst>
                                    <p:set>
                                      <p:cBhvr>
                                        <p:cTn id="264" dur="1" fill="hold">
                                          <p:stCondLst>
                                            <p:cond delay="0"/>
                                          </p:stCondLst>
                                        </p:cTn>
                                        <p:tgtEl>
                                          <p:spTgt spid="4">
                                            <p:graphicEl>
                                              <a:dgm id="{FDF48581-FF8C-4786-8361-11578A320553}"/>
                                            </p:graphicEl>
                                          </p:spTgt>
                                        </p:tgtEl>
                                        <p:attrNameLst>
                                          <p:attrName>style.visibility</p:attrName>
                                        </p:attrNameLst>
                                      </p:cBhvr>
                                      <p:to>
                                        <p:strVal val="visible"/>
                                      </p:to>
                                    </p:set>
                                    <p:animEffect transition="in" filter="fade">
                                      <p:cBhvr>
                                        <p:cTn id="265" dur="50"/>
                                        <p:tgtEl>
                                          <p:spTgt spid="4">
                                            <p:graphicEl>
                                              <a:dgm id="{FDF48581-FF8C-4786-8361-11578A320553}"/>
                                            </p:graphicEl>
                                          </p:spTgt>
                                        </p:tgtEl>
                                      </p:cBhvr>
                                    </p:animEffect>
                                  </p:childTnLst>
                                </p:cTn>
                              </p:par>
                            </p:childTnLst>
                          </p:cTn>
                        </p:par>
                        <p:par>
                          <p:cTn id="266" fill="hold">
                            <p:stCondLst>
                              <p:cond delay="4000"/>
                            </p:stCondLst>
                            <p:childTnLst>
                              <p:par>
                                <p:cTn id="267" presetID="10" presetClass="entr" presetSubtype="0" fill="hold" grpId="0" nodeType="afterEffect">
                                  <p:stCondLst>
                                    <p:cond delay="0"/>
                                  </p:stCondLst>
                                  <p:childTnLst>
                                    <p:set>
                                      <p:cBhvr>
                                        <p:cTn id="268" dur="1" fill="hold">
                                          <p:stCondLst>
                                            <p:cond delay="0"/>
                                          </p:stCondLst>
                                        </p:cTn>
                                        <p:tgtEl>
                                          <p:spTgt spid="4">
                                            <p:graphicEl>
                                              <a:dgm id="{B7EC48C7-F961-4987-A7DF-CC315C44A814}"/>
                                            </p:graphicEl>
                                          </p:spTgt>
                                        </p:tgtEl>
                                        <p:attrNameLst>
                                          <p:attrName>style.visibility</p:attrName>
                                        </p:attrNameLst>
                                      </p:cBhvr>
                                      <p:to>
                                        <p:strVal val="visible"/>
                                      </p:to>
                                    </p:set>
                                    <p:animEffect transition="in" filter="fade">
                                      <p:cBhvr>
                                        <p:cTn id="269" dur="50"/>
                                        <p:tgtEl>
                                          <p:spTgt spid="4">
                                            <p:graphicEl>
                                              <a:dgm id="{B7EC48C7-F961-4987-A7DF-CC315C44A814}"/>
                                            </p:graphicEl>
                                          </p:spTgt>
                                        </p:tgtEl>
                                      </p:cBhvr>
                                    </p:animEffect>
                                  </p:childTnLst>
                                </p:cTn>
                              </p:par>
                            </p:childTnLst>
                          </p:cTn>
                        </p:par>
                        <p:par>
                          <p:cTn id="270" fill="hold">
                            <p:stCondLst>
                              <p:cond delay="4050"/>
                            </p:stCondLst>
                            <p:childTnLst>
                              <p:par>
                                <p:cTn id="271" presetID="10" presetClass="entr" presetSubtype="0" fill="hold" grpId="0" nodeType="afterEffect">
                                  <p:stCondLst>
                                    <p:cond delay="0"/>
                                  </p:stCondLst>
                                  <p:childTnLst>
                                    <p:set>
                                      <p:cBhvr>
                                        <p:cTn id="272" dur="1" fill="hold">
                                          <p:stCondLst>
                                            <p:cond delay="0"/>
                                          </p:stCondLst>
                                        </p:cTn>
                                        <p:tgtEl>
                                          <p:spTgt spid="4">
                                            <p:graphicEl>
                                              <a:dgm id="{053A91AA-0388-433D-9C03-4FD2BD113810}"/>
                                            </p:graphicEl>
                                          </p:spTgt>
                                        </p:tgtEl>
                                        <p:attrNameLst>
                                          <p:attrName>style.visibility</p:attrName>
                                        </p:attrNameLst>
                                      </p:cBhvr>
                                      <p:to>
                                        <p:strVal val="visible"/>
                                      </p:to>
                                    </p:set>
                                    <p:animEffect transition="in" filter="fade">
                                      <p:cBhvr>
                                        <p:cTn id="273" dur="50"/>
                                        <p:tgtEl>
                                          <p:spTgt spid="4">
                                            <p:graphicEl>
                                              <a:dgm id="{053A91AA-0388-433D-9C03-4FD2BD113810}"/>
                                            </p:graphicEl>
                                          </p:spTgt>
                                        </p:tgtEl>
                                      </p:cBhvr>
                                    </p:animEffect>
                                  </p:childTnLst>
                                </p:cTn>
                              </p:par>
                            </p:childTnLst>
                          </p:cTn>
                        </p:par>
                        <p:par>
                          <p:cTn id="274" fill="hold">
                            <p:stCondLst>
                              <p:cond delay="4100"/>
                            </p:stCondLst>
                            <p:childTnLst>
                              <p:par>
                                <p:cTn id="275" presetID="10" presetClass="entr" presetSubtype="0" fill="hold" grpId="0" nodeType="afterEffect">
                                  <p:stCondLst>
                                    <p:cond delay="0"/>
                                  </p:stCondLst>
                                  <p:childTnLst>
                                    <p:set>
                                      <p:cBhvr>
                                        <p:cTn id="276" dur="1" fill="hold">
                                          <p:stCondLst>
                                            <p:cond delay="0"/>
                                          </p:stCondLst>
                                        </p:cTn>
                                        <p:tgtEl>
                                          <p:spTgt spid="4">
                                            <p:graphicEl>
                                              <a:dgm id="{3AFACA2F-D9D6-443D-A4D6-71B55DBA4394}"/>
                                            </p:graphicEl>
                                          </p:spTgt>
                                        </p:tgtEl>
                                        <p:attrNameLst>
                                          <p:attrName>style.visibility</p:attrName>
                                        </p:attrNameLst>
                                      </p:cBhvr>
                                      <p:to>
                                        <p:strVal val="visible"/>
                                      </p:to>
                                    </p:set>
                                    <p:animEffect transition="in" filter="fade">
                                      <p:cBhvr>
                                        <p:cTn id="277" dur="50"/>
                                        <p:tgtEl>
                                          <p:spTgt spid="4">
                                            <p:graphicEl>
                                              <a:dgm id="{3AFACA2F-D9D6-443D-A4D6-71B55DBA4394}"/>
                                            </p:graphicEl>
                                          </p:spTgt>
                                        </p:tgtEl>
                                      </p:cBhvr>
                                    </p:animEffect>
                                  </p:childTnLst>
                                </p:cTn>
                              </p:par>
                            </p:childTnLst>
                          </p:cTn>
                        </p:par>
                        <p:par>
                          <p:cTn id="278" fill="hold">
                            <p:stCondLst>
                              <p:cond delay="4150"/>
                            </p:stCondLst>
                            <p:childTnLst>
                              <p:par>
                                <p:cTn id="279" presetID="10" presetClass="entr" presetSubtype="0" fill="hold" grpId="0" nodeType="afterEffect">
                                  <p:stCondLst>
                                    <p:cond delay="0"/>
                                  </p:stCondLst>
                                  <p:childTnLst>
                                    <p:set>
                                      <p:cBhvr>
                                        <p:cTn id="280" dur="1" fill="hold">
                                          <p:stCondLst>
                                            <p:cond delay="0"/>
                                          </p:stCondLst>
                                        </p:cTn>
                                        <p:tgtEl>
                                          <p:spTgt spid="4">
                                            <p:graphicEl>
                                              <a:dgm id="{0312C5BC-A03D-4651-B2E9-DA6D0FE4A3C1}"/>
                                            </p:graphicEl>
                                          </p:spTgt>
                                        </p:tgtEl>
                                        <p:attrNameLst>
                                          <p:attrName>style.visibility</p:attrName>
                                        </p:attrNameLst>
                                      </p:cBhvr>
                                      <p:to>
                                        <p:strVal val="visible"/>
                                      </p:to>
                                    </p:set>
                                    <p:animEffect transition="in" filter="fade">
                                      <p:cBhvr>
                                        <p:cTn id="281" dur="50"/>
                                        <p:tgtEl>
                                          <p:spTgt spid="4">
                                            <p:graphicEl>
                                              <a:dgm id="{0312C5BC-A03D-4651-B2E9-DA6D0FE4A3C1}"/>
                                            </p:graphicEl>
                                          </p:spTgt>
                                        </p:tgtEl>
                                      </p:cBhvr>
                                    </p:animEffect>
                                  </p:childTnLst>
                                </p:cTn>
                              </p:par>
                            </p:childTnLst>
                          </p:cTn>
                        </p:par>
                        <p:par>
                          <p:cTn id="282" fill="hold">
                            <p:stCondLst>
                              <p:cond delay="4200"/>
                            </p:stCondLst>
                            <p:childTnLst>
                              <p:par>
                                <p:cTn id="283" presetID="10" presetClass="entr" presetSubtype="0" fill="hold" grpId="0" nodeType="afterEffect">
                                  <p:stCondLst>
                                    <p:cond delay="0"/>
                                  </p:stCondLst>
                                  <p:childTnLst>
                                    <p:set>
                                      <p:cBhvr>
                                        <p:cTn id="284" dur="1" fill="hold">
                                          <p:stCondLst>
                                            <p:cond delay="0"/>
                                          </p:stCondLst>
                                        </p:cTn>
                                        <p:tgtEl>
                                          <p:spTgt spid="4">
                                            <p:graphicEl>
                                              <a:dgm id="{074B8C88-A226-404A-B889-51399F7D6F0E}"/>
                                            </p:graphicEl>
                                          </p:spTgt>
                                        </p:tgtEl>
                                        <p:attrNameLst>
                                          <p:attrName>style.visibility</p:attrName>
                                        </p:attrNameLst>
                                      </p:cBhvr>
                                      <p:to>
                                        <p:strVal val="visible"/>
                                      </p:to>
                                    </p:set>
                                    <p:animEffect transition="in" filter="fade">
                                      <p:cBhvr>
                                        <p:cTn id="285" dur="50"/>
                                        <p:tgtEl>
                                          <p:spTgt spid="4">
                                            <p:graphicEl>
                                              <a:dgm id="{074B8C88-A226-404A-B889-51399F7D6F0E}"/>
                                            </p:graphicEl>
                                          </p:spTgt>
                                        </p:tgtEl>
                                      </p:cBhvr>
                                    </p:animEffect>
                                  </p:childTnLst>
                                </p:cTn>
                              </p:par>
                            </p:childTnLst>
                          </p:cTn>
                        </p:par>
                        <p:par>
                          <p:cTn id="286" fill="hold">
                            <p:stCondLst>
                              <p:cond delay="4250"/>
                            </p:stCondLst>
                            <p:childTnLst>
                              <p:par>
                                <p:cTn id="287" presetID="10" presetClass="entr" presetSubtype="0" fill="hold" grpId="0" nodeType="afterEffect">
                                  <p:stCondLst>
                                    <p:cond delay="0"/>
                                  </p:stCondLst>
                                  <p:childTnLst>
                                    <p:set>
                                      <p:cBhvr>
                                        <p:cTn id="288" dur="1" fill="hold">
                                          <p:stCondLst>
                                            <p:cond delay="0"/>
                                          </p:stCondLst>
                                        </p:cTn>
                                        <p:tgtEl>
                                          <p:spTgt spid="4">
                                            <p:graphicEl>
                                              <a:dgm id="{B7327A70-9E6A-451A-81B9-AE500F196E75}"/>
                                            </p:graphicEl>
                                          </p:spTgt>
                                        </p:tgtEl>
                                        <p:attrNameLst>
                                          <p:attrName>style.visibility</p:attrName>
                                        </p:attrNameLst>
                                      </p:cBhvr>
                                      <p:to>
                                        <p:strVal val="visible"/>
                                      </p:to>
                                    </p:set>
                                    <p:animEffect transition="in" filter="fade">
                                      <p:cBhvr>
                                        <p:cTn id="289" dur="50"/>
                                        <p:tgtEl>
                                          <p:spTgt spid="4">
                                            <p:graphicEl>
                                              <a:dgm id="{B7327A70-9E6A-451A-81B9-AE500F196E75}"/>
                                            </p:graphicEl>
                                          </p:spTgt>
                                        </p:tgtEl>
                                      </p:cBhvr>
                                    </p:animEffect>
                                  </p:childTnLst>
                                </p:cTn>
                              </p:par>
                            </p:childTnLst>
                          </p:cTn>
                        </p:par>
                        <p:par>
                          <p:cTn id="290" fill="hold">
                            <p:stCondLst>
                              <p:cond delay="4300"/>
                            </p:stCondLst>
                            <p:childTnLst>
                              <p:par>
                                <p:cTn id="291" presetID="10" presetClass="entr" presetSubtype="0" fill="hold" grpId="0" nodeType="afterEffect">
                                  <p:stCondLst>
                                    <p:cond delay="0"/>
                                  </p:stCondLst>
                                  <p:childTnLst>
                                    <p:set>
                                      <p:cBhvr>
                                        <p:cTn id="292" dur="1" fill="hold">
                                          <p:stCondLst>
                                            <p:cond delay="0"/>
                                          </p:stCondLst>
                                        </p:cTn>
                                        <p:tgtEl>
                                          <p:spTgt spid="4">
                                            <p:graphicEl>
                                              <a:dgm id="{E3CB98F3-BC66-45DA-AF15-1D22B0730B22}"/>
                                            </p:graphicEl>
                                          </p:spTgt>
                                        </p:tgtEl>
                                        <p:attrNameLst>
                                          <p:attrName>style.visibility</p:attrName>
                                        </p:attrNameLst>
                                      </p:cBhvr>
                                      <p:to>
                                        <p:strVal val="visible"/>
                                      </p:to>
                                    </p:set>
                                    <p:animEffect transition="in" filter="fade">
                                      <p:cBhvr>
                                        <p:cTn id="293" dur="50"/>
                                        <p:tgtEl>
                                          <p:spTgt spid="4">
                                            <p:graphicEl>
                                              <a:dgm id="{E3CB98F3-BC66-45DA-AF15-1D22B0730B22}"/>
                                            </p:graphicEl>
                                          </p:spTgt>
                                        </p:tgtEl>
                                      </p:cBhvr>
                                    </p:animEffect>
                                  </p:childTnLst>
                                </p:cTn>
                              </p:par>
                            </p:childTnLst>
                          </p:cTn>
                        </p:par>
                        <p:par>
                          <p:cTn id="294" fill="hold">
                            <p:stCondLst>
                              <p:cond delay="4350"/>
                            </p:stCondLst>
                            <p:childTnLst>
                              <p:par>
                                <p:cTn id="295" presetID="10" presetClass="entr" presetSubtype="0" fill="hold" grpId="0" nodeType="afterEffect">
                                  <p:stCondLst>
                                    <p:cond delay="0"/>
                                  </p:stCondLst>
                                  <p:childTnLst>
                                    <p:set>
                                      <p:cBhvr>
                                        <p:cTn id="296" dur="1" fill="hold">
                                          <p:stCondLst>
                                            <p:cond delay="0"/>
                                          </p:stCondLst>
                                        </p:cTn>
                                        <p:tgtEl>
                                          <p:spTgt spid="4">
                                            <p:graphicEl>
                                              <a:dgm id="{60A889B8-7D30-4152-9152-F7FCD8D338BC}"/>
                                            </p:graphicEl>
                                          </p:spTgt>
                                        </p:tgtEl>
                                        <p:attrNameLst>
                                          <p:attrName>style.visibility</p:attrName>
                                        </p:attrNameLst>
                                      </p:cBhvr>
                                      <p:to>
                                        <p:strVal val="visible"/>
                                      </p:to>
                                    </p:set>
                                    <p:animEffect transition="in" filter="fade">
                                      <p:cBhvr>
                                        <p:cTn id="297" dur="50"/>
                                        <p:tgtEl>
                                          <p:spTgt spid="4">
                                            <p:graphicEl>
                                              <a:dgm id="{60A889B8-7D30-4152-9152-F7FCD8D338BC}"/>
                                            </p:graphicEl>
                                          </p:spTgt>
                                        </p:tgtEl>
                                      </p:cBhvr>
                                    </p:animEffect>
                                  </p:childTnLst>
                                </p:cTn>
                              </p:par>
                            </p:childTnLst>
                          </p:cTn>
                        </p:par>
                        <p:par>
                          <p:cTn id="298" fill="hold">
                            <p:stCondLst>
                              <p:cond delay="4400"/>
                            </p:stCondLst>
                            <p:childTnLst>
                              <p:par>
                                <p:cTn id="299" presetID="10" presetClass="entr" presetSubtype="0" fill="hold" grpId="0" nodeType="afterEffect">
                                  <p:stCondLst>
                                    <p:cond delay="0"/>
                                  </p:stCondLst>
                                  <p:childTnLst>
                                    <p:set>
                                      <p:cBhvr>
                                        <p:cTn id="300" dur="1" fill="hold">
                                          <p:stCondLst>
                                            <p:cond delay="0"/>
                                          </p:stCondLst>
                                        </p:cTn>
                                        <p:tgtEl>
                                          <p:spTgt spid="4">
                                            <p:graphicEl>
                                              <a:dgm id="{E9898476-B872-4E96-8E6B-4639DC1E1EAF}"/>
                                            </p:graphicEl>
                                          </p:spTgt>
                                        </p:tgtEl>
                                        <p:attrNameLst>
                                          <p:attrName>style.visibility</p:attrName>
                                        </p:attrNameLst>
                                      </p:cBhvr>
                                      <p:to>
                                        <p:strVal val="visible"/>
                                      </p:to>
                                    </p:set>
                                    <p:animEffect transition="in" filter="fade">
                                      <p:cBhvr>
                                        <p:cTn id="301" dur="50"/>
                                        <p:tgtEl>
                                          <p:spTgt spid="4">
                                            <p:graphicEl>
                                              <a:dgm id="{E9898476-B872-4E96-8E6B-4639DC1E1EAF}"/>
                                            </p:graphicEl>
                                          </p:spTgt>
                                        </p:tgtEl>
                                      </p:cBhvr>
                                    </p:animEffect>
                                  </p:childTnLst>
                                </p:cTn>
                              </p:par>
                            </p:childTnLst>
                          </p:cTn>
                        </p:par>
                        <p:par>
                          <p:cTn id="302" fill="hold">
                            <p:stCondLst>
                              <p:cond delay="4450"/>
                            </p:stCondLst>
                            <p:childTnLst>
                              <p:par>
                                <p:cTn id="303" presetID="10" presetClass="entr" presetSubtype="0" fill="hold" grpId="0" nodeType="afterEffect">
                                  <p:stCondLst>
                                    <p:cond delay="0"/>
                                  </p:stCondLst>
                                  <p:childTnLst>
                                    <p:set>
                                      <p:cBhvr>
                                        <p:cTn id="304" dur="1" fill="hold">
                                          <p:stCondLst>
                                            <p:cond delay="0"/>
                                          </p:stCondLst>
                                        </p:cTn>
                                        <p:tgtEl>
                                          <p:spTgt spid="4">
                                            <p:graphicEl>
                                              <a:dgm id="{E91E3A8B-A820-4DED-B5BD-AE0A3542B640}"/>
                                            </p:graphicEl>
                                          </p:spTgt>
                                        </p:tgtEl>
                                        <p:attrNameLst>
                                          <p:attrName>style.visibility</p:attrName>
                                        </p:attrNameLst>
                                      </p:cBhvr>
                                      <p:to>
                                        <p:strVal val="visible"/>
                                      </p:to>
                                    </p:set>
                                    <p:animEffect transition="in" filter="fade">
                                      <p:cBhvr>
                                        <p:cTn id="305" dur="50"/>
                                        <p:tgtEl>
                                          <p:spTgt spid="4">
                                            <p:graphicEl>
                                              <a:dgm id="{E91E3A8B-A820-4DED-B5BD-AE0A3542B640}"/>
                                            </p:graphicEl>
                                          </p:spTgt>
                                        </p:tgtEl>
                                      </p:cBhvr>
                                    </p:animEffect>
                                  </p:childTnLst>
                                </p:cTn>
                              </p:par>
                            </p:childTnLst>
                          </p:cTn>
                        </p:par>
                        <p:par>
                          <p:cTn id="306" fill="hold">
                            <p:stCondLst>
                              <p:cond delay="4500"/>
                            </p:stCondLst>
                            <p:childTnLst>
                              <p:par>
                                <p:cTn id="307" presetID="10" presetClass="entr" presetSubtype="0" fill="hold" grpId="0" nodeType="afterEffect">
                                  <p:stCondLst>
                                    <p:cond delay="0"/>
                                  </p:stCondLst>
                                  <p:childTnLst>
                                    <p:set>
                                      <p:cBhvr>
                                        <p:cTn id="308" dur="1" fill="hold">
                                          <p:stCondLst>
                                            <p:cond delay="0"/>
                                          </p:stCondLst>
                                        </p:cTn>
                                        <p:tgtEl>
                                          <p:spTgt spid="4">
                                            <p:graphicEl>
                                              <a:dgm id="{87B1145D-0AF4-4271-A5D9-C6D439DE7279}"/>
                                            </p:graphicEl>
                                          </p:spTgt>
                                        </p:tgtEl>
                                        <p:attrNameLst>
                                          <p:attrName>style.visibility</p:attrName>
                                        </p:attrNameLst>
                                      </p:cBhvr>
                                      <p:to>
                                        <p:strVal val="visible"/>
                                      </p:to>
                                    </p:set>
                                    <p:animEffect transition="in" filter="fade">
                                      <p:cBhvr>
                                        <p:cTn id="309" dur="500"/>
                                        <p:tgtEl>
                                          <p:spTgt spid="4">
                                            <p:graphicEl>
                                              <a:dgm id="{87B1145D-0AF4-4271-A5D9-C6D439DE7279}"/>
                                            </p:graphicEl>
                                          </p:spTgt>
                                        </p:tgtEl>
                                      </p:cBhvr>
                                    </p:animEffect>
                                  </p:childTnLst>
                                </p:cTn>
                              </p:par>
                            </p:childTnLst>
                          </p:cTn>
                        </p:par>
                        <p:par>
                          <p:cTn id="310" fill="hold">
                            <p:stCondLst>
                              <p:cond delay="5000"/>
                            </p:stCondLst>
                            <p:childTnLst>
                              <p:par>
                                <p:cTn id="311" presetID="10" presetClass="entr" presetSubtype="0" fill="hold" grpId="0" nodeType="afterEffect">
                                  <p:stCondLst>
                                    <p:cond delay="0"/>
                                  </p:stCondLst>
                                  <p:childTnLst>
                                    <p:set>
                                      <p:cBhvr>
                                        <p:cTn id="312" dur="1" fill="hold">
                                          <p:stCondLst>
                                            <p:cond delay="0"/>
                                          </p:stCondLst>
                                        </p:cTn>
                                        <p:tgtEl>
                                          <p:spTgt spid="4">
                                            <p:graphicEl>
                                              <a:dgm id="{D8D2ED38-F748-4289-8E77-4DDF823BBBBC}"/>
                                            </p:graphicEl>
                                          </p:spTgt>
                                        </p:tgtEl>
                                        <p:attrNameLst>
                                          <p:attrName>style.visibility</p:attrName>
                                        </p:attrNameLst>
                                      </p:cBhvr>
                                      <p:to>
                                        <p:strVal val="visible"/>
                                      </p:to>
                                    </p:set>
                                    <p:animEffect transition="in" filter="fade">
                                      <p:cBhvr>
                                        <p:cTn id="313" dur="50"/>
                                        <p:tgtEl>
                                          <p:spTgt spid="4">
                                            <p:graphicEl>
                                              <a:dgm id="{D8D2ED38-F748-4289-8E77-4DDF823BBBBC}"/>
                                            </p:graphicEl>
                                          </p:spTgt>
                                        </p:tgtEl>
                                      </p:cBhvr>
                                    </p:animEffect>
                                  </p:childTnLst>
                                </p:cTn>
                              </p:par>
                            </p:childTnLst>
                          </p:cTn>
                        </p:par>
                        <p:par>
                          <p:cTn id="314" fill="hold">
                            <p:stCondLst>
                              <p:cond delay="5050"/>
                            </p:stCondLst>
                            <p:childTnLst>
                              <p:par>
                                <p:cTn id="315" presetID="10" presetClass="entr" presetSubtype="0" fill="hold" grpId="0" nodeType="afterEffect">
                                  <p:stCondLst>
                                    <p:cond delay="0"/>
                                  </p:stCondLst>
                                  <p:childTnLst>
                                    <p:set>
                                      <p:cBhvr>
                                        <p:cTn id="316" dur="1" fill="hold">
                                          <p:stCondLst>
                                            <p:cond delay="0"/>
                                          </p:stCondLst>
                                        </p:cTn>
                                        <p:tgtEl>
                                          <p:spTgt spid="4">
                                            <p:graphicEl>
                                              <a:dgm id="{5E0FD4F7-1302-4407-AFB8-D56C902F2C36}"/>
                                            </p:graphicEl>
                                          </p:spTgt>
                                        </p:tgtEl>
                                        <p:attrNameLst>
                                          <p:attrName>style.visibility</p:attrName>
                                        </p:attrNameLst>
                                      </p:cBhvr>
                                      <p:to>
                                        <p:strVal val="visible"/>
                                      </p:to>
                                    </p:set>
                                    <p:animEffect transition="in" filter="fade">
                                      <p:cBhvr>
                                        <p:cTn id="317" dur="50"/>
                                        <p:tgtEl>
                                          <p:spTgt spid="4">
                                            <p:graphicEl>
                                              <a:dgm id="{5E0FD4F7-1302-4407-AFB8-D56C902F2C36}"/>
                                            </p:graphicEl>
                                          </p:spTgt>
                                        </p:tgtEl>
                                      </p:cBhvr>
                                    </p:animEffect>
                                  </p:childTnLst>
                                </p:cTn>
                              </p:par>
                            </p:childTnLst>
                          </p:cTn>
                        </p:par>
                        <p:par>
                          <p:cTn id="318" fill="hold">
                            <p:stCondLst>
                              <p:cond delay="5100"/>
                            </p:stCondLst>
                            <p:childTnLst>
                              <p:par>
                                <p:cTn id="319" presetID="10" presetClass="entr" presetSubtype="0" fill="hold" grpId="0" nodeType="afterEffect">
                                  <p:stCondLst>
                                    <p:cond delay="0"/>
                                  </p:stCondLst>
                                  <p:childTnLst>
                                    <p:set>
                                      <p:cBhvr>
                                        <p:cTn id="320" dur="1" fill="hold">
                                          <p:stCondLst>
                                            <p:cond delay="0"/>
                                          </p:stCondLst>
                                        </p:cTn>
                                        <p:tgtEl>
                                          <p:spTgt spid="4">
                                            <p:graphicEl>
                                              <a:dgm id="{EA98DA56-01FE-46F1-BA8C-DEF2B5550464}"/>
                                            </p:graphicEl>
                                          </p:spTgt>
                                        </p:tgtEl>
                                        <p:attrNameLst>
                                          <p:attrName>style.visibility</p:attrName>
                                        </p:attrNameLst>
                                      </p:cBhvr>
                                      <p:to>
                                        <p:strVal val="visible"/>
                                      </p:to>
                                    </p:set>
                                    <p:animEffect transition="in" filter="fade">
                                      <p:cBhvr>
                                        <p:cTn id="321" dur="50"/>
                                        <p:tgtEl>
                                          <p:spTgt spid="4">
                                            <p:graphicEl>
                                              <a:dgm id="{EA98DA56-01FE-46F1-BA8C-DEF2B5550464}"/>
                                            </p:graphicEl>
                                          </p:spTgt>
                                        </p:tgtEl>
                                      </p:cBhvr>
                                    </p:animEffect>
                                  </p:childTnLst>
                                </p:cTn>
                              </p:par>
                            </p:childTnLst>
                          </p:cTn>
                        </p:par>
                        <p:par>
                          <p:cTn id="322" fill="hold">
                            <p:stCondLst>
                              <p:cond delay="5150"/>
                            </p:stCondLst>
                            <p:childTnLst>
                              <p:par>
                                <p:cTn id="323" presetID="10" presetClass="entr" presetSubtype="0" fill="hold" grpId="0" nodeType="afterEffect">
                                  <p:stCondLst>
                                    <p:cond delay="0"/>
                                  </p:stCondLst>
                                  <p:childTnLst>
                                    <p:set>
                                      <p:cBhvr>
                                        <p:cTn id="324" dur="1" fill="hold">
                                          <p:stCondLst>
                                            <p:cond delay="0"/>
                                          </p:stCondLst>
                                        </p:cTn>
                                        <p:tgtEl>
                                          <p:spTgt spid="4">
                                            <p:graphicEl>
                                              <a:dgm id="{3B9FA98F-AF95-4778-8296-1491745B0820}"/>
                                            </p:graphicEl>
                                          </p:spTgt>
                                        </p:tgtEl>
                                        <p:attrNameLst>
                                          <p:attrName>style.visibility</p:attrName>
                                        </p:attrNameLst>
                                      </p:cBhvr>
                                      <p:to>
                                        <p:strVal val="visible"/>
                                      </p:to>
                                    </p:set>
                                    <p:animEffect transition="in" filter="fade">
                                      <p:cBhvr>
                                        <p:cTn id="325" dur="50"/>
                                        <p:tgtEl>
                                          <p:spTgt spid="4">
                                            <p:graphicEl>
                                              <a:dgm id="{3B9FA98F-AF95-4778-8296-1491745B0820}"/>
                                            </p:graphicEl>
                                          </p:spTgt>
                                        </p:tgtEl>
                                      </p:cBhvr>
                                    </p:animEffect>
                                  </p:childTnLst>
                                </p:cTn>
                              </p:par>
                            </p:childTnLst>
                          </p:cTn>
                        </p:par>
                        <p:par>
                          <p:cTn id="326" fill="hold">
                            <p:stCondLst>
                              <p:cond delay="5200"/>
                            </p:stCondLst>
                            <p:childTnLst>
                              <p:par>
                                <p:cTn id="327" presetID="10" presetClass="entr" presetSubtype="0" fill="hold" grpId="0" nodeType="afterEffect">
                                  <p:stCondLst>
                                    <p:cond delay="0"/>
                                  </p:stCondLst>
                                  <p:childTnLst>
                                    <p:set>
                                      <p:cBhvr>
                                        <p:cTn id="328" dur="1" fill="hold">
                                          <p:stCondLst>
                                            <p:cond delay="0"/>
                                          </p:stCondLst>
                                        </p:cTn>
                                        <p:tgtEl>
                                          <p:spTgt spid="4">
                                            <p:graphicEl>
                                              <a:dgm id="{1B8731FA-0D0A-4796-AAEF-97EDAD5E2921}"/>
                                            </p:graphicEl>
                                          </p:spTgt>
                                        </p:tgtEl>
                                        <p:attrNameLst>
                                          <p:attrName>style.visibility</p:attrName>
                                        </p:attrNameLst>
                                      </p:cBhvr>
                                      <p:to>
                                        <p:strVal val="visible"/>
                                      </p:to>
                                    </p:set>
                                    <p:animEffect transition="in" filter="fade">
                                      <p:cBhvr>
                                        <p:cTn id="329" dur="50"/>
                                        <p:tgtEl>
                                          <p:spTgt spid="4">
                                            <p:graphicEl>
                                              <a:dgm id="{1B8731FA-0D0A-4796-AAEF-97EDAD5E2921}"/>
                                            </p:graphicEl>
                                          </p:spTgt>
                                        </p:tgtEl>
                                      </p:cBhvr>
                                    </p:animEffect>
                                  </p:childTnLst>
                                </p:cTn>
                              </p:par>
                            </p:childTnLst>
                          </p:cTn>
                        </p:par>
                        <p:par>
                          <p:cTn id="330" fill="hold">
                            <p:stCondLst>
                              <p:cond delay="5250"/>
                            </p:stCondLst>
                            <p:childTnLst>
                              <p:par>
                                <p:cTn id="331" presetID="10" presetClass="entr" presetSubtype="0" fill="hold" grpId="0" nodeType="afterEffect">
                                  <p:stCondLst>
                                    <p:cond delay="0"/>
                                  </p:stCondLst>
                                  <p:childTnLst>
                                    <p:set>
                                      <p:cBhvr>
                                        <p:cTn id="332" dur="1" fill="hold">
                                          <p:stCondLst>
                                            <p:cond delay="0"/>
                                          </p:stCondLst>
                                        </p:cTn>
                                        <p:tgtEl>
                                          <p:spTgt spid="4">
                                            <p:graphicEl>
                                              <a:dgm id="{AE505F8C-57CF-4639-84BE-2661CF2D12D0}"/>
                                            </p:graphicEl>
                                          </p:spTgt>
                                        </p:tgtEl>
                                        <p:attrNameLst>
                                          <p:attrName>style.visibility</p:attrName>
                                        </p:attrNameLst>
                                      </p:cBhvr>
                                      <p:to>
                                        <p:strVal val="visible"/>
                                      </p:to>
                                    </p:set>
                                    <p:animEffect transition="in" filter="fade">
                                      <p:cBhvr>
                                        <p:cTn id="333" dur="50"/>
                                        <p:tgtEl>
                                          <p:spTgt spid="4">
                                            <p:graphicEl>
                                              <a:dgm id="{AE505F8C-57CF-4639-84BE-2661CF2D12D0}"/>
                                            </p:graphicEl>
                                          </p:spTgt>
                                        </p:tgtEl>
                                      </p:cBhvr>
                                    </p:animEffect>
                                  </p:childTnLst>
                                </p:cTn>
                              </p:par>
                            </p:childTnLst>
                          </p:cTn>
                        </p:par>
                        <p:par>
                          <p:cTn id="334" fill="hold">
                            <p:stCondLst>
                              <p:cond delay="5300"/>
                            </p:stCondLst>
                            <p:childTnLst>
                              <p:par>
                                <p:cTn id="335" presetID="10" presetClass="entr" presetSubtype="0" fill="hold" grpId="0" nodeType="afterEffect">
                                  <p:stCondLst>
                                    <p:cond delay="0"/>
                                  </p:stCondLst>
                                  <p:childTnLst>
                                    <p:set>
                                      <p:cBhvr>
                                        <p:cTn id="336" dur="1" fill="hold">
                                          <p:stCondLst>
                                            <p:cond delay="0"/>
                                          </p:stCondLst>
                                        </p:cTn>
                                        <p:tgtEl>
                                          <p:spTgt spid="4">
                                            <p:graphicEl>
                                              <a:dgm id="{9EEA6381-5036-433B-8952-E5A592021CA2}"/>
                                            </p:graphicEl>
                                          </p:spTgt>
                                        </p:tgtEl>
                                        <p:attrNameLst>
                                          <p:attrName>style.visibility</p:attrName>
                                        </p:attrNameLst>
                                      </p:cBhvr>
                                      <p:to>
                                        <p:strVal val="visible"/>
                                      </p:to>
                                    </p:set>
                                    <p:animEffect transition="in" filter="fade">
                                      <p:cBhvr>
                                        <p:cTn id="337" dur="50"/>
                                        <p:tgtEl>
                                          <p:spTgt spid="4">
                                            <p:graphicEl>
                                              <a:dgm id="{9EEA6381-5036-433B-8952-E5A592021CA2}"/>
                                            </p:graphicEl>
                                          </p:spTgt>
                                        </p:tgtEl>
                                      </p:cBhvr>
                                    </p:animEffect>
                                  </p:childTnLst>
                                </p:cTn>
                              </p:par>
                            </p:childTnLst>
                          </p:cTn>
                        </p:par>
                        <p:par>
                          <p:cTn id="338" fill="hold">
                            <p:stCondLst>
                              <p:cond delay="5350"/>
                            </p:stCondLst>
                            <p:childTnLst>
                              <p:par>
                                <p:cTn id="339" presetID="10" presetClass="entr" presetSubtype="0" fill="hold" grpId="0" nodeType="afterEffect">
                                  <p:stCondLst>
                                    <p:cond delay="0"/>
                                  </p:stCondLst>
                                  <p:childTnLst>
                                    <p:set>
                                      <p:cBhvr>
                                        <p:cTn id="340" dur="1" fill="hold">
                                          <p:stCondLst>
                                            <p:cond delay="0"/>
                                          </p:stCondLst>
                                        </p:cTn>
                                        <p:tgtEl>
                                          <p:spTgt spid="4">
                                            <p:graphicEl>
                                              <a:dgm id="{99E93896-50C5-414F-90C5-CB46261E8052}"/>
                                            </p:graphicEl>
                                          </p:spTgt>
                                        </p:tgtEl>
                                        <p:attrNameLst>
                                          <p:attrName>style.visibility</p:attrName>
                                        </p:attrNameLst>
                                      </p:cBhvr>
                                      <p:to>
                                        <p:strVal val="visible"/>
                                      </p:to>
                                    </p:set>
                                    <p:animEffect transition="in" filter="fade">
                                      <p:cBhvr>
                                        <p:cTn id="341" dur="50"/>
                                        <p:tgtEl>
                                          <p:spTgt spid="4">
                                            <p:graphicEl>
                                              <a:dgm id="{99E93896-50C5-414F-90C5-CB46261E8052}"/>
                                            </p:graphicEl>
                                          </p:spTgt>
                                        </p:tgtEl>
                                      </p:cBhvr>
                                    </p:animEffect>
                                  </p:childTnLst>
                                </p:cTn>
                              </p:par>
                            </p:childTnLst>
                          </p:cTn>
                        </p:par>
                        <p:par>
                          <p:cTn id="342" fill="hold">
                            <p:stCondLst>
                              <p:cond delay="5400"/>
                            </p:stCondLst>
                            <p:childTnLst>
                              <p:par>
                                <p:cTn id="343" presetID="10" presetClass="entr" presetSubtype="0" fill="hold" grpId="0" nodeType="afterEffect">
                                  <p:stCondLst>
                                    <p:cond delay="0"/>
                                  </p:stCondLst>
                                  <p:childTnLst>
                                    <p:set>
                                      <p:cBhvr>
                                        <p:cTn id="344" dur="1" fill="hold">
                                          <p:stCondLst>
                                            <p:cond delay="0"/>
                                          </p:stCondLst>
                                        </p:cTn>
                                        <p:tgtEl>
                                          <p:spTgt spid="4">
                                            <p:graphicEl>
                                              <a:dgm id="{E9A72AB3-AEC9-40AC-B626-3B45EDD407B3}"/>
                                            </p:graphicEl>
                                          </p:spTgt>
                                        </p:tgtEl>
                                        <p:attrNameLst>
                                          <p:attrName>style.visibility</p:attrName>
                                        </p:attrNameLst>
                                      </p:cBhvr>
                                      <p:to>
                                        <p:strVal val="visible"/>
                                      </p:to>
                                    </p:set>
                                    <p:animEffect transition="in" filter="fade">
                                      <p:cBhvr>
                                        <p:cTn id="345" dur="50"/>
                                        <p:tgtEl>
                                          <p:spTgt spid="4">
                                            <p:graphicEl>
                                              <a:dgm id="{E9A72AB3-AEC9-40AC-B626-3B45EDD407B3}"/>
                                            </p:graphicEl>
                                          </p:spTgt>
                                        </p:tgtEl>
                                      </p:cBhvr>
                                    </p:animEffect>
                                  </p:childTnLst>
                                </p:cTn>
                              </p:par>
                            </p:childTnLst>
                          </p:cTn>
                        </p:par>
                        <p:par>
                          <p:cTn id="346" fill="hold">
                            <p:stCondLst>
                              <p:cond delay="5450"/>
                            </p:stCondLst>
                            <p:childTnLst>
                              <p:par>
                                <p:cTn id="347" presetID="10" presetClass="entr" presetSubtype="0" fill="hold" grpId="0" nodeType="afterEffect">
                                  <p:stCondLst>
                                    <p:cond delay="0"/>
                                  </p:stCondLst>
                                  <p:childTnLst>
                                    <p:set>
                                      <p:cBhvr>
                                        <p:cTn id="348" dur="1" fill="hold">
                                          <p:stCondLst>
                                            <p:cond delay="0"/>
                                          </p:stCondLst>
                                        </p:cTn>
                                        <p:tgtEl>
                                          <p:spTgt spid="4">
                                            <p:graphicEl>
                                              <a:dgm id="{BC30F1AC-DEE0-424F-B63E-6AFEE0DBE781}"/>
                                            </p:graphicEl>
                                          </p:spTgt>
                                        </p:tgtEl>
                                        <p:attrNameLst>
                                          <p:attrName>style.visibility</p:attrName>
                                        </p:attrNameLst>
                                      </p:cBhvr>
                                      <p:to>
                                        <p:strVal val="visible"/>
                                      </p:to>
                                    </p:set>
                                    <p:animEffect transition="in" filter="fade">
                                      <p:cBhvr>
                                        <p:cTn id="349" dur="50"/>
                                        <p:tgtEl>
                                          <p:spTgt spid="4">
                                            <p:graphicEl>
                                              <a:dgm id="{BC30F1AC-DEE0-424F-B63E-6AFEE0DBE781}"/>
                                            </p:graphicEl>
                                          </p:spTgt>
                                        </p:tgtEl>
                                      </p:cBhvr>
                                    </p:animEffect>
                                  </p:childTnLst>
                                </p:cTn>
                              </p:par>
                            </p:childTnLst>
                          </p:cTn>
                        </p:par>
                        <p:par>
                          <p:cTn id="350" fill="hold">
                            <p:stCondLst>
                              <p:cond delay="5500"/>
                            </p:stCondLst>
                            <p:childTnLst>
                              <p:par>
                                <p:cTn id="351" presetID="10" presetClass="entr" presetSubtype="0" fill="hold" grpId="0" nodeType="afterEffect">
                                  <p:stCondLst>
                                    <p:cond delay="0"/>
                                  </p:stCondLst>
                                  <p:childTnLst>
                                    <p:set>
                                      <p:cBhvr>
                                        <p:cTn id="352" dur="1" fill="hold">
                                          <p:stCondLst>
                                            <p:cond delay="0"/>
                                          </p:stCondLst>
                                        </p:cTn>
                                        <p:tgtEl>
                                          <p:spTgt spid="4">
                                            <p:graphicEl>
                                              <a:dgm id="{1E52C614-1246-4A76-95E3-A2B48CD86314}"/>
                                            </p:graphicEl>
                                          </p:spTgt>
                                        </p:tgtEl>
                                        <p:attrNameLst>
                                          <p:attrName>style.visibility</p:attrName>
                                        </p:attrNameLst>
                                      </p:cBhvr>
                                      <p:to>
                                        <p:strVal val="visible"/>
                                      </p:to>
                                    </p:set>
                                    <p:animEffect transition="in" filter="fade">
                                      <p:cBhvr>
                                        <p:cTn id="353" dur="50"/>
                                        <p:tgtEl>
                                          <p:spTgt spid="4">
                                            <p:graphicEl>
                                              <a:dgm id="{1E52C614-1246-4A76-95E3-A2B48CD86314}"/>
                                            </p:graphicEl>
                                          </p:spTgt>
                                        </p:tgtEl>
                                      </p:cBhvr>
                                    </p:animEffect>
                                  </p:childTnLst>
                                </p:cTn>
                              </p:par>
                            </p:childTnLst>
                          </p:cTn>
                        </p:par>
                        <p:par>
                          <p:cTn id="354" fill="hold">
                            <p:stCondLst>
                              <p:cond delay="5550"/>
                            </p:stCondLst>
                            <p:childTnLst>
                              <p:par>
                                <p:cTn id="355" presetID="10" presetClass="entr" presetSubtype="0" fill="hold" grpId="0" nodeType="afterEffect">
                                  <p:stCondLst>
                                    <p:cond delay="0"/>
                                  </p:stCondLst>
                                  <p:childTnLst>
                                    <p:set>
                                      <p:cBhvr>
                                        <p:cTn id="356" dur="1" fill="hold">
                                          <p:stCondLst>
                                            <p:cond delay="0"/>
                                          </p:stCondLst>
                                        </p:cTn>
                                        <p:tgtEl>
                                          <p:spTgt spid="4">
                                            <p:graphicEl>
                                              <a:dgm id="{9D132697-72A0-4576-A6CD-3FADA3569E4E}"/>
                                            </p:graphicEl>
                                          </p:spTgt>
                                        </p:tgtEl>
                                        <p:attrNameLst>
                                          <p:attrName>style.visibility</p:attrName>
                                        </p:attrNameLst>
                                      </p:cBhvr>
                                      <p:to>
                                        <p:strVal val="visible"/>
                                      </p:to>
                                    </p:set>
                                    <p:animEffect transition="in" filter="fade">
                                      <p:cBhvr>
                                        <p:cTn id="357" dur="500"/>
                                        <p:tgtEl>
                                          <p:spTgt spid="4">
                                            <p:graphicEl>
                                              <a:dgm id="{9D132697-72A0-4576-A6CD-3FADA3569E4E}"/>
                                            </p:graphicEl>
                                          </p:spTgt>
                                        </p:tgtEl>
                                      </p:cBhvr>
                                    </p:animEffect>
                                  </p:childTnLst>
                                </p:cTn>
                              </p:par>
                            </p:childTnLst>
                          </p:cTn>
                        </p:par>
                        <p:par>
                          <p:cTn id="358" fill="hold">
                            <p:stCondLst>
                              <p:cond delay="6050"/>
                            </p:stCondLst>
                            <p:childTnLst>
                              <p:par>
                                <p:cTn id="359" presetID="10" presetClass="entr" presetSubtype="0" fill="hold" grpId="0" nodeType="afterEffect">
                                  <p:stCondLst>
                                    <p:cond delay="0"/>
                                  </p:stCondLst>
                                  <p:childTnLst>
                                    <p:set>
                                      <p:cBhvr>
                                        <p:cTn id="360" dur="1" fill="hold">
                                          <p:stCondLst>
                                            <p:cond delay="0"/>
                                          </p:stCondLst>
                                        </p:cTn>
                                        <p:tgtEl>
                                          <p:spTgt spid="4">
                                            <p:graphicEl>
                                              <a:dgm id="{19962120-483D-4E36-A2FD-EC5110E6A6D9}"/>
                                            </p:graphicEl>
                                          </p:spTgt>
                                        </p:tgtEl>
                                        <p:attrNameLst>
                                          <p:attrName>style.visibility</p:attrName>
                                        </p:attrNameLst>
                                      </p:cBhvr>
                                      <p:to>
                                        <p:strVal val="visible"/>
                                      </p:to>
                                    </p:set>
                                    <p:animEffect transition="in" filter="fade">
                                      <p:cBhvr>
                                        <p:cTn id="361" dur="500"/>
                                        <p:tgtEl>
                                          <p:spTgt spid="4">
                                            <p:graphicEl>
                                              <a:dgm id="{19962120-483D-4E36-A2FD-EC5110E6A6D9}"/>
                                            </p:graphicEl>
                                          </p:spTgt>
                                        </p:tgtEl>
                                      </p:cBhvr>
                                    </p:animEffect>
                                  </p:childTnLst>
                                </p:cTn>
                              </p:par>
                            </p:childTnLst>
                          </p:cTn>
                        </p:par>
                        <p:par>
                          <p:cTn id="362" fill="hold">
                            <p:stCondLst>
                              <p:cond delay="6550"/>
                            </p:stCondLst>
                            <p:childTnLst>
                              <p:par>
                                <p:cTn id="363" presetID="10" presetClass="entr" presetSubtype="0" fill="hold" grpId="0" nodeType="afterEffect">
                                  <p:stCondLst>
                                    <p:cond delay="0"/>
                                  </p:stCondLst>
                                  <p:childTnLst>
                                    <p:set>
                                      <p:cBhvr>
                                        <p:cTn id="364" dur="1" fill="hold">
                                          <p:stCondLst>
                                            <p:cond delay="0"/>
                                          </p:stCondLst>
                                        </p:cTn>
                                        <p:tgtEl>
                                          <p:spTgt spid="4">
                                            <p:graphicEl>
                                              <a:dgm id="{05762FCE-10A1-4AD7-AE14-FD2A404DDF2B}"/>
                                            </p:graphicEl>
                                          </p:spTgt>
                                        </p:tgtEl>
                                        <p:attrNameLst>
                                          <p:attrName>style.visibility</p:attrName>
                                        </p:attrNameLst>
                                      </p:cBhvr>
                                      <p:to>
                                        <p:strVal val="visible"/>
                                      </p:to>
                                    </p:set>
                                    <p:animEffect transition="in" filter="fade">
                                      <p:cBhvr>
                                        <p:cTn id="365" dur="50"/>
                                        <p:tgtEl>
                                          <p:spTgt spid="4">
                                            <p:graphicEl>
                                              <a:dgm id="{05762FCE-10A1-4AD7-AE14-FD2A404DDF2B}"/>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lvlOne"/>
        </p:bldSub>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w HTML5 Markup Elements</a:t>
            </a:r>
            <a:endParaRPr lang="en-US" dirty="0"/>
          </a:p>
        </p:txBody>
      </p:sp>
      <p:graphicFrame>
        <p:nvGraphicFramePr>
          <p:cNvPr id="5" name="Diagram 4"/>
          <p:cNvGraphicFramePr/>
          <p:nvPr>
            <p:extLst>
              <p:ext uri="{D42A27DB-BD31-4B8C-83A1-F6EECF244321}">
                <p14:modId xmlns:p14="http://schemas.microsoft.com/office/powerpoint/2010/main" val="1689340633"/>
              </p:ext>
            </p:extLst>
          </p:nvPr>
        </p:nvGraphicFramePr>
        <p:xfrm>
          <a:off x="510363" y="1095153"/>
          <a:ext cx="10877107" cy="51248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533988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447799"/>
            <a:ext cx="11149013" cy="891013"/>
          </a:xfrm>
        </p:spPr>
        <p:txBody>
          <a:bodyPr/>
          <a:lstStyle/>
          <a:p>
            <a:r>
              <a:rPr lang="en-US" sz="2800" dirty="0"/>
              <a:t>A block element that allows developers to draw 2d graphics using JavaScript</a:t>
            </a:r>
          </a:p>
          <a:p>
            <a:r>
              <a:rPr lang="en-US" sz="2800" dirty="0"/>
              <a:t>Methods for drawing include: paths, boxes, circles, text and rasterized images</a:t>
            </a:r>
          </a:p>
        </p:txBody>
      </p:sp>
      <p:sp>
        <p:nvSpPr>
          <p:cNvPr id="28" name="Rounded Rectangle 27"/>
          <p:cNvSpPr/>
          <p:nvPr/>
        </p:nvSpPr>
        <p:spPr bwMode="auto">
          <a:xfrm>
            <a:off x="605641" y="2576945"/>
            <a:ext cx="10224654" cy="3479470"/>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tx1"/>
                </a:solidFill>
                <a:latin typeface="Consolas" pitchFamily="49" charset="0"/>
                <a:cs typeface="Consolas" pitchFamily="49" charset="0"/>
              </a:rPr>
              <a:t>&lt;canvas id="</a:t>
            </a:r>
            <a:r>
              <a:rPr lang="en-US" sz="2000" dirty="0" err="1" smtClean="0">
                <a:solidFill>
                  <a:schemeClr val="tx1"/>
                </a:solidFill>
                <a:latin typeface="Consolas" pitchFamily="49" charset="0"/>
                <a:cs typeface="Consolas" pitchFamily="49" charset="0"/>
              </a:rPr>
              <a:t>myCanvas</a:t>
            </a:r>
            <a:r>
              <a:rPr lang="en-US" sz="2000" dirty="0" smtClean="0">
                <a:solidFill>
                  <a:schemeClr val="tx1"/>
                </a:solidFill>
                <a:latin typeface="Consolas" pitchFamily="49" charset="0"/>
                <a:cs typeface="Consolas" pitchFamily="49" charset="0"/>
              </a:rPr>
              <a:t>" width="200" height="200"&gt;</a:t>
            </a:r>
          </a:p>
          <a:p>
            <a:r>
              <a:rPr lang="en-US" sz="2000" dirty="0" smtClean="0">
                <a:solidFill>
                  <a:schemeClr val="tx1"/>
                </a:solidFill>
                <a:latin typeface="Consolas" pitchFamily="49" charset="0"/>
                <a:cs typeface="Consolas" pitchFamily="49" charset="0"/>
              </a:rPr>
              <a:t>  Your browser doesn’t support Canvas, sorry.</a:t>
            </a:r>
          </a:p>
          <a:p>
            <a:r>
              <a:rPr lang="en-US" sz="2000" dirty="0" smtClean="0">
                <a:solidFill>
                  <a:schemeClr val="tx1"/>
                </a:solidFill>
                <a:latin typeface="Consolas" pitchFamily="49" charset="0"/>
                <a:cs typeface="Consolas" pitchFamily="49" charset="0"/>
              </a:rPr>
              <a:t>&lt;/canvas&gt;</a:t>
            </a:r>
          </a:p>
          <a:p>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script type="text/</a:t>
            </a:r>
            <a:r>
              <a:rPr lang="en-US" sz="2000" dirty="0" err="1" smtClean="0">
                <a:solidFill>
                  <a:schemeClr val="tx1"/>
                </a:solidFill>
                <a:latin typeface="Consolas" pitchFamily="49" charset="0"/>
                <a:cs typeface="Consolas" pitchFamily="49" charset="0"/>
              </a:rPr>
              <a:t>javascript</a:t>
            </a:r>
            <a:r>
              <a:rPr lang="en-US" sz="2000" dirty="0" smtClean="0">
                <a:solidFill>
                  <a:schemeClr val="tx1"/>
                </a:solidFill>
                <a:latin typeface="Consolas" pitchFamily="49" charset="0"/>
                <a:cs typeface="Consolas" pitchFamily="49" charset="0"/>
              </a:rPr>
              <a:t>"&gt;</a:t>
            </a:r>
          </a:p>
          <a:p>
            <a:r>
              <a:rPr lang="en-US" sz="2000" dirty="0" smtClean="0">
                <a:solidFill>
                  <a:schemeClr val="tx1"/>
                </a:solidFill>
                <a:latin typeface="Consolas" pitchFamily="49" charset="0"/>
                <a:cs typeface="Consolas" pitchFamily="49" charset="0"/>
              </a:rPr>
              <a:t>  </a:t>
            </a:r>
            <a:r>
              <a:rPr lang="en-US" sz="2000" dirty="0" err="1" smtClean="0">
                <a:solidFill>
                  <a:schemeClr val="tx1"/>
                </a:solidFill>
                <a:latin typeface="Consolas" pitchFamily="49" charset="0"/>
                <a:cs typeface="Consolas" pitchFamily="49" charset="0"/>
              </a:rPr>
              <a:t>var</a:t>
            </a:r>
            <a:r>
              <a:rPr lang="en-US" sz="2000" dirty="0" smtClean="0">
                <a:solidFill>
                  <a:schemeClr val="tx1"/>
                </a:solidFill>
                <a:latin typeface="Consolas" pitchFamily="49" charset="0"/>
                <a:cs typeface="Consolas" pitchFamily="49" charset="0"/>
              </a:rPr>
              <a:t> example = </a:t>
            </a:r>
            <a:r>
              <a:rPr lang="en-US" sz="2000" dirty="0" err="1" smtClean="0">
                <a:solidFill>
                  <a:schemeClr val="tx1"/>
                </a:solidFill>
                <a:latin typeface="Consolas" pitchFamily="49" charset="0"/>
                <a:cs typeface="Consolas" pitchFamily="49" charset="0"/>
              </a:rPr>
              <a:t>document.getElementById</a:t>
            </a:r>
            <a:r>
              <a:rPr lang="en-US" sz="2000" dirty="0" smtClean="0">
                <a:solidFill>
                  <a:schemeClr val="tx1"/>
                </a:solidFill>
                <a:latin typeface="Consolas" pitchFamily="49" charset="0"/>
                <a:cs typeface="Consolas" pitchFamily="49" charset="0"/>
              </a:rPr>
              <a:t>("</a:t>
            </a:r>
            <a:r>
              <a:rPr lang="en-US" sz="2000" dirty="0" err="1" smtClean="0">
                <a:solidFill>
                  <a:schemeClr val="tx1"/>
                </a:solidFill>
                <a:latin typeface="Consolas" pitchFamily="49" charset="0"/>
                <a:cs typeface="Consolas" pitchFamily="49" charset="0"/>
              </a:rPr>
              <a:t>myCanvas</a:t>
            </a:r>
            <a:r>
              <a:rPr lang="en-US" sz="2000" dirty="0" smtClean="0">
                <a:solidFill>
                  <a:schemeClr val="tx1"/>
                </a:solidFill>
                <a:latin typeface="Consolas" pitchFamily="49" charset="0"/>
                <a:cs typeface="Consolas" pitchFamily="49" charset="0"/>
              </a:rPr>
              <a:t>"); </a:t>
            </a:r>
          </a:p>
          <a:p>
            <a:r>
              <a:rPr lang="en-US" sz="2000" dirty="0" smtClean="0">
                <a:solidFill>
                  <a:schemeClr val="tx1"/>
                </a:solidFill>
                <a:latin typeface="Consolas" pitchFamily="49" charset="0"/>
                <a:cs typeface="Consolas" pitchFamily="49" charset="0"/>
              </a:rPr>
              <a:t>  </a:t>
            </a:r>
            <a:r>
              <a:rPr lang="en-US" sz="2000" dirty="0" err="1" smtClean="0">
                <a:solidFill>
                  <a:schemeClr val="tx1"/>
                </a:solidFill>
                <a:latin typeface="Consolas" pitchFamily="49" charset="0"/>
                <a:cs typeface="Consolas" pitchFamily="49" charset="0"/>
              </a:rPr>
              <a:t>var</a:t>
            </a:r>
            <a:r>
              <a:rPr lang="en-US" sz="2000" dirty="0" smtClean="0">
                <a:solidFill>
                  <a:schemeClr val="tx1"/>
                </a:solidFill>
                <a:latin typeface="Consolas" pitchFamily="49" charset="0"/>
                <a:cs typeface="Consolas" pitchFamily="49" charset="0"/>
              </a:rPr>
              <a:t> context = </a:t>
            </a:r>
            <a:r>
              <a:rPr lang="en-US" sz="2000" dirty="0" err="1" smtClean="0">
                <a:solidFill>
                  <a:schemeClr val="tx1"/>
                </a:solidFill>
                <a:latin typeface="Consolas" pitchFamily="49" charset="0"/>
                <a:cs typeface="Consolas" pitchFamily="49" charset="0"/>
              </a:rPr>
              <a:t>example.getContext</a:t>
            </a:r>
            <a:r>
              <a:rPr lang="en-US" sz="2000" dirty="0" smtClean="0">
                <a:solidFill>
                  <a:schemeClr val="tx1"/>
                </a:solidFill>
                <a:latin typeface="Consolas" pitchFamily="49" charset="0"/>
                <a:cs typeface="Consolas" pitchFamily="49" charset="0"/>
              </a:rPr>
              <a:t>("2d"); </a:t>
            </a:r>
          </a:p>
          <a:p>
            <a:r>
              <a:rPr lang="en-US" sz="2000" dirty="0" smtClean="0">
                <a:solidFill>
                  <a:schemeClr val="tx1"/>
                </a:solidFill>
                <a:latin typeface="Consolas" pitchFamily="49" charset="0"/>
                <a:cs typeface="Consolas" pitchFamily="49" charset="0"/>
              </a:rPr>
              <a:t>  </a:t>
            </a:r>
            <a:r>
              <a:rPr lang="en-US" sz="2000" dirty="0" err="1" smtClean="0">
                <a:solidFill>
                  <a:schemeClr val="tx1"/>
                </a:solidFill>
                <a:latin typeface="Consolas" pitchFamily="49" charset="0"/>
                <a:cs typeface="Consolas" pitchFamily="49" charset="0"/>
              </a:rPr>
              <a:t>context.fillStyle</a:t>
            </a:r>
            <a:r>
              <a:rPr lang="en-US" sz="2000" dirty="0" smtClean="0">
                <a:solidFill>
                  <a:schemeClr val="tx1"/>
                </a:solidFill>
                <a:latin typeface="Consolas" pitchFamily="49" charset="0"/>
                <a:cs typeface="Consolas" pitchFamily="49" charset="0"/>
              </a:rPr>
              <a:t> = "</a:t>
            </a:r>
            <a:r>
              <a:rPr lang="en-US" sz="2000" dirty="0" err="1" smtClean="0">
                <a:solidFill>
                  <a:schemeClr val="tx1"/>
                </a:solidFill>
                <a:latin typeface="Consolas" pitchFamily="49" charset="0"/>
                <a:cs typeface="Consolas" pitchFamily="49" charset="0"/>
              </a:rPr>
              <a:t>rgb</a:t>
            </a:r>
            <a:r>
              <a:rPr lang="en-US" sz="2000" dirty="0" smtClean="0">
                <a:solidFill>
                  <a:schemeClr val="tx1"/>
                </a:solidFill>
                <a:latin typeface="Consolas" pitchFamily="49" charset="0"/>
                <a:cs typeface="Consolas" pitchFamily="49" charset="0"/>
              </a:rPr>
              <a:t>(255,0,0)"; </a:t>
            </a:r>
          </a:p>
          <a:p>
            <a:r>
              <a:rPr lang="en-US" sz="2000" dirty="0" smtClean="0">
                <a:solidFill>
                  <a:schemeClr val="tx1"/>
                </a:solidFill>
                <a:latin typeface="Consolas" pitchFamily="49" charset="0"/>
                <a:cs typeface="Consolas" pitchFamily="49" charset="0"/>
              </a:rPr>
              <a:t>  </a:t>
            </a:r>
            <a:r>
              <a:rPr lang="en-US" sz="2000" dirty="0" err="1" smtClean="0">
                <a:solidFill>
                  <a:schemeClr val="tx1"/>
                </a:solidFill>
                <a:latin typeface="Consolas" pitchFamily="49" charset="0"/>
                <a:cs typeface="Consolas" pitchFamily="49" charset="0"/>
              </a:rPr>
              <a:t>context.fillRect</a:t>
            </a:r>
            <a:r>
              <a:rPr lang="en-US" sz="2000" dirty="0" smtClean="0">
                <a:solidFill>
                  <a:schemeClr val="tx1"/>
                </a:solidFill>
                <a:latin typeface="Consolas" pitchFamily="49" charset="0"/>
                <a:cs typeface="Consolas" pitchFamily="49" charset="0"/>
              </a:rPr>
              <a:t>(30, 30, 50, 50); </a:t>
            </a:r>
          </a:p>
          <a:p>
            <a:r>
              <a:rPr lang="en-US" sz="2000" dirty="0" smtClean="0">
                <a:solidFill>
                  <a:schemeClr val="tx1"/>
                </a:solidFill>
                <a:latin typeface="Consolas" pitchFamily="49" charset="0"/>
                <a:cs typeface="Consolas" pitchFamily="49" charset="0"/>
              </a:rPr>
              <a:t>&lt;/script&gt;</a:t>
            </a:r>
            <a:endParaRPr lang="en-US" sz="2000" dirty="0">
              <a:solidFill>
                <a:schemeClr val="tx1"/>
              </a:solidFill>
              <a:latin typeface="Consolas" pitchFamily="49" charset="0"/>
              <a:cs typeface="Consolas" pitchFamily="49" charset="0"/>
            </a:endParaRPr>
          </a:p>
        </p:txBody>
      </p:sp>
    </p:spTree>
    <p:extLst>
      <p:ext uri="{BB962C8B-B14F-4D97-AF65-F5344CB8AC3E}">
        <p14:creationId xmlns:p14="http://schemas.microsoft.com/office/powerpoint/2010/main" val="10378176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447799"/>
            <a:ext cx="11149013" cy="2788456"/>
          </a:xfrm>
        </p:spPr>
        <p:txBody>
          <a:bodyPr/>
          <a:lstStyle/>
          <a:p>
            <a:pPr marL="460375" indent="-457200">
              <a:buFont typeface="Arial" pitchFamily="34" charset="0"/>
              <a:buChar char="•"/>
            </a:pPr>
            <a:r>
              <a:rPr lang="en-US" sz="2800" dirty="0"/>
              <a:t>Create and draw 2D vector graphics using XML</a:t>
            </a:r>
          </a:p>
          <a:p>
            <a:pPr marL="460375" indent="-457200">
              <a:buFont typeface="Arial" pitchFamily="34" charset="0"/>
              <a:buChar char="•"/>
            </a:pPr>
            <a:r>
              <a:rPr lang="en-US" sz="2800" dirty="0"/>
              <a:t>Vector images are composed of shapes instead of pixels</a:t>
            </a:r>
          </a:p>
          <a:p>
            <a:pPr marL="460375" indent="-457200">
              <a:buFont typeface="Arial" pitchFamily="34" charset="0"/>
              <a:buChar char="•"/>
            </a:pPr>
            <a:r>
              <a:rPr lang="en-US" sz="2800" dirty="0"/>
              <a:t>Based on the SVG 1.1 2nd Edition Full specification</a:t>
            </a:r>
          </a:p>
          <a:p>
            <a:pPr marL="460375" indent="-457200">
              <a:buFont typeface="Arial" pitchFamily="34" charset="0"/>
              <a:buChar char="•"/>
            </a:pPr>
            <a:r>
              <a:rPr lang="en-US" sz="2800" dirty="0" smtClean="0"/>
              <a:t>Full </a:t>
            </a:r>
            <a:r>
              <a:rPr lang="en-US" sz="2800" dirty="0"/>
              <a:t>DOM access to SVG elements</a:t>
            </a:r>
          </a:p>
          <a:p>
            <a:pPr marL="460375" indent="-457200">
              <a:buFont typeface="Arial" pitchFamily="34" charset="0"/>
              <a:buChar char="•"/>
            </a:pPr>
            <a:r>
              <a:rPr lang="en-US" sz="2800" dirty="0"/>
              <a:t>Document structure, scripting, styling, paths, shapes, colors, transforms, gradients, patterns, masking, clipping, markers, linking and views</a:t>
            </a:r>
          </a:p>
        </p:txBody>
      </p:sp>
    </p:spTree>
    <p:extLst>
      <p:ext uri="{BB962C8B-B14F-4D97-AF65-F5344CB8AC3E}">
        <p14:creationId xmlns:p14="http://schemas.microsoft.com/office/powerpoint/2010/main" val="203797737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447799"/>
            <a:ext cx="11149013" cy="891013"/>
          </a:xfrm>
        </p:spPr>
        <p:txBody>
          <a:bodyPr/>
          <a:lstStyle/>
          <a:p>
            <a:r>
              <a:rPr lang="en-US" sz="2800" dirty="0"/>
              <a:t>A block element that allows developers to draw 2d graphics using JavaScript</a:t>
            </a:r>
          </a:p>
          <a:p>
            <a:r>
              <a:rPr lang="en-US" sz="2800" dirty="0"/>
              <a:t>Methods for drawing include: paths, boxes, circles, text and rasterized images</a:t>
            </a:r>
          </a:p>
        </p:txBody>
      </p:sp>
      <p:sp>
        <p:nvSpPr>
          <p:cNvPr id="28" name="Rounded Rectangle 27"/>
          <p:cNvSpPr/>
          <p:nvPr/>
        </p:nvSpPr>
        <p:spPr bwMode="auto">
          <a:xfrm>
            <a:off x="605641" y="2576946"/>
            <a:ext cx="10224654" cy="1615044"/>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a:t>
            </a:r>
            <a:r>
              <a:rPr lang="en-US" sz="2000" dirty="0" err="1">
                <a:solidFill>
                  <a:schemeClr val="tx1"/>
                </a:solidFill>
                <a:latin typeface="Consolas" pitchFamily="49" charset="0"/>
                <a:cs typeface="Consolas" pitchFamily="49" charset="0"/>
              </a:rPr>
              <a:t>svg</a:t>
            </a:r>
            <a:r>
              <a:rPr lang="en-US" sz="2000" dirty="0">
                <a:solidFill>
                  <a:schemeClr val="tx1"/>
                </a:solidFill>
                <a:latin typeface="Consolas" pitchFamily="49" charset="0"/>
                <a:cs typeface="Consolas" pitchFamily="49" charset="0"/>
              </a:rPr>
              <a:t> width="400" height="200" </a:t>
            </a:r>
            <a:r>
              <a:rPr lang="en-US" sz="2000" dirty="0" err="1">
                <a:solidFill>
                  <a:schemeClr val="tx1"/>
                </a:solidFill>
                <a:latin typeface="Consolas" pitchFamily="49" charset="0"/>
                <a:cs typeface="Consolas" pitchFamily="49" charset="0"/>
              </a:rPr>
              <a:t>xmlns</a:t>
            </a:r>
            <a:r>
              <a:rPr lang="en-US" sz="2000" dirty="0">
                <a:solidFill>
                  <a:schemeClr val="tx1"/>
                </a:solidFill>
                <a:latin typeface="Consolas" pitchFamily="49" charset="0"/>
                <a:cs typeface="Consolas" pitchFamily="49" charset="0"/>
              </a:rPr>
              <a:t>="http://www.w3.org/2000/svg"&gt;</a:t>
            </a:r>
          </a:p>
          <a:p>
            <a:r>
              <a:rPr lang="en-US" sz="2000" dirty="0">
                <a:solidFill>
                  <a:schemeClr val="tx1"/>
                </a:solidFill>
                <a:latin typeface="Consolas" pitchFamily="49" charset="0"/>
                <a:cs typeface="Consolas" pitchFamily="49" charset="0"/>
              </a:rPr>
              <a:t>    &lt;</a:t>
            </a:r>
            <a:r>
              <a:rPr lang="en-US" sz="2000" dirty="0" err="1">
                <a:solidFill>
                  <a:schemeClr val="tx1"/>
                </a:solidFill>
                <a:latin typeface="Consolas" pitchFamily="49" charset="0"/>
                <a:cs typeface="Consolas" pitchFamily="49" charset="0"/>
              </a:rPr>
              <a:t>rect</a:t>
            </a:r>
            <a:r>
              <a:rPr lang="en-US" sz="2000" dirty="0">
                <a:solidFill>
                  <a:schemeClr val="tx1"/>
                </a:solidFill>
                <a:latin typeface="Consolas" pitchFamily="49" charset="0"/>
                <a:cs typeface="Consolas" pitchFamily="49" charset="0"/>
              </a:rPr>
              <a:t> fill="red" x="20" y="20" width="100" height="75" /&gt;</a:t>
            </a:r>
          </a:p>
          <a:p>
            <a:r>
              <a:rPr lang="en-US" sz="2000" dirty="0">
                <a:solidFill>
                  <a:schemeClr val="tx1"/>
                </a:solidFill>
                <a:latin typeface="Consolas" pitchFamily="49" charset="0"/>
                <a:cs typeface="Consolas" pitchFamily="49" charset="0"/>
              </a:rPr>
              <a:t>    &lt;</a:t>
            </a:r>
            <a:r>
              <a:rPr lang="en-US" sz="2000" dirty="0" err="1">
                <a:solidFill>
                  <a:schemeClr val="tx1"/>
                </a:solidFill>
                <a:latin typeface="Consolas" pitchFamily="49" charset="0"/>
                <a:cs typeface="Consolas" pitchFamily="49" charset="0"/>
              </a:rPr>
              <a:t>rect</a:t>
            </a:r>
            <a:r>
              <a:rPr lang="en-US" sz="2000" dirty="0">
                <a:solidFill>
                  <a:schemeClr val="tx1"/>
                </a:solidFill>
                <a:latin typeface="Consolas" pitchFamily="49" charset="0"/>
                <a:cs typeface="Consolas" pitchFamily="49" charset="0"/>
              </a:rPr>
              <a:t> fill="blue" x="50" y="50" width="100" height="75" /&gt;</a:t>
            </a:r>
          </a:p>
          <a:p>
            <a:r>
              <a:rPr lang="en-US" sz="2000" dirty="0">
                <a:solidFill>
                  <a:schemeClr val="tx1"/>
                </a:solidFill>
                <a:latin typeface="Consolas" pitchFamily="49" charset="0"/>
                <a:cs typeface="Consolas" pitchFamily="49" charset="0"/>
              </a:rPr>
              <a:t>&lt;/</a:t>
            </a:r>
            <a:r>
              <a:rPr lang="en-US" sz="2000" dirty="0" err="1">
                <a:solidFill>
                  <a:schemeClr val="tx1"/>
                </a:solidFill>
                <a:latin typeface="Consolas" pitchFamily="49" charset="0"/>
                <a:cs typeface="Consolas" pitchFamily="49" charset="0"/>
              </a:rPr>
              <a:t>svg</a:t>
            </a:r>
            <a:r>
              <a:rPr lang="en-US" sz="2000" dirty="0">
                <a:solidFill>
                  <a:schemeClr val="tx1"/>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17868" y="4277562"/>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23312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447799"/>
            <a:ext cx="11149013" cy="2123658"/>
          </a:xfrm>
        </p:spPr>
        <p:txBody>
          <a:bodyPr/>
          <a:lstStyle/>
          <a:p>
            <a:pPr marL="460375" indent="-457200">
              <a:buFont typeface="Arial" pitchFamily="34" charset="0"/>
              <a:buChar char="•"/>
            </a:pPr>
            <a:r>
              <a:rPr lang="en-US" sz="2400" dirty="0"/>
              <a:t>Support for the HTML5 &lt;video&gt; element</a:t>
            </a:r>
          </a:p>
          <a:p>
            <a:pPr marL="460375" indent="-457200">
              <a:buFont typeface="Arial" pitchFamily="34" charset="0"/>
              <a:buChar char="•"/>
            </a:pPr>
            <a:r>
              <a:rPr lang="en-US" sz="2400" dirty="0"/>
              <a:t>Industry-standard MPEG-4/H.264 video</a:t>
            </a:r>
          </a:p>
          <a:p>
            <a:pPr marL="460375" indent="-457200">
              <a:buFont typeface="Arial" pitchFamily="34" charset="0"/>
              <a:buChar char="•"/>
            </a:pPr>
            <a:r>
              <a:rPr lang="en-US" sz="2400" dirty="0"/>
              <a:t>Video can be composited with anything else on the page</a:t>
            </a:r>
          </a:p>
          <a:p>
            <a:pPr marL="460375" indent="-457200">
              <a:buFont typeface="Arial" pitchFamily="34" charset="0"/>
              <a:buChar char="•"/>
            </a:pPr>
            <a:r>
              <a:rPr lang="en-US" sz="2400" dirty="0"/>
              <a:t>HTML content, images, SVG graphics</a:t>
            </a:r>
          </a:p>
          <a:p>
            <a:pPr marL="460375" indent="-457200">
              <a:buFont typeface="Arial" pitchFamily="34" charset="0"/>
              <a:buChar char="•"/>
            </a:pPr>
            <a:r>
              <a:rPr lang="en-US" sz="2400" dirty="0"/>
              <a:t>Hardware accelerated, GPU-based </a:t>
            </a:r>
            <a:r>
              <a:rPr lang="en-US" sz="2400" dirty="0" smtClean="0"/>
              <a:t>decoding</a:t>
            </a:r>
            <a:endParaRPr lang="en-US" sz="2400" dirty="0"/>
          </a:p>
        </p:txBody>
      </p:sp>
    </p:spTree>
    <p:extLst>
      <p:ext uri="{BB962C8B-B14F-4D97-AF65-F5344CB8AC3E}">
        <p14:creationId xmlns:p14="http://schemas.microsoft.com/office/powerpoint/2010/main" val="166663312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447799"/>
            <a:ext cx="11149013" cy="2571473"/>
          </a:xfrm>
        </p:spPr>
        <p:txBody>
          <a:bodyPr/>
          <a:lstStyle/>
          <a:p>
            <a:pPr marL="460375" indent="-457200">
              <a:buFont typeface="Arial" pitchFamily="34" charset="0"/>
              <a:buChar char="•"/>
            </a:pPr>
            <a:r>
              <a:rPr lang="en-US" sz="2400" dirty="0" err="1" smtClean="0"/>
              <a:t>src</a:t>
            </a:r>
            <a:r>
              <a:rPr lang="en-US" sz="2400" dirty="0" smtClean="0"/>
              <a:t> </a:t>
            </a:r>
            <a:r>
              <a:rPr lang="en-US" sz="2400" dirty="0"/>
              <a:t>– specifies the location to pull the source file</a:t>
            </a:r>
          </a:p>
          <a:p>
            <a:pPr marL="460375" indent="-457200">
              <a:buFont typeface="Arial" pitchFamily="34" charset="0"/>
              <a:buChar char="•"/>
            </a:pPr>
            <a:r>
              <a:rPr lang="en-US" sz="2400" dirty="0" err="1"/>
              <a:t>autoplay</a:t>
            </a:r>
            <a:r>
              <a:rPr lang="en-US" sz="2400" dirty="0"/>
              <a:t> – if present starts playing as soon as it’s ready</a:t>
            </a:r>
          </a:p>
          <a:p>
            <a:pPr marL="460375" indent="-457200">
              <a:buFont typeface="Arial" pitchFamily="34" charset="0"/>
              <a:buChar char="•"/>
            </a:pPr>
            <a:r>
              <a:rPr lang="en-US" sz="2400" dirty="0"/>
              <a:t>controls – if present displays controls</a:t>
            </a:r>
          </a:p>
          <a:p>
            <a:pPr marL="460375" indent="-457200">
              <a:buFont typeface="Arial" pitchFamily="34" charset="0"/>
              <a:buChar char="•"/>
            </a:pPr>
            <a:r>
              <a:rPr lang="en-US" sz="2400" dirty="0"/>
              <a:t>preload – if present loads source at page load</a:t>
            </a:r>
          </a:p>
          <a:p>
            <a:pPr marL="460375" indent="-457200">
              <a:buFont typeface="Arial" pitchFamily="34" charset="0"/>
              <a:buChar char="•"/>
            </a:pPr>
            <a:r>
              <a:rPr lang="en-US" sz="2400" dirty="0"/>
              <a:t>loop – if present loops back to the beginning of the video</a:t>
            </a:r>
          </a:p>
          <a:p>
            <a:pPr marL="460375" indent="-457200">
              <a:buFont typeface="Arial" pitchFamily="34" charset="0"/>
              <a:buChar char="•"/>
            </a:pPr>
            <a:r>
              <a:rPr lang="en-US" sz="2400" dirty="0"/>
              <a:t>height &amp; width – specifies the height &amp; width of the player</a:t>
            </a:r>
          </a:p>
        </p:txBody>
      </p:sp>
      <p:sp>
        <p:nvSpPr>
          <p:cNvPr id="4" name="Rounded Rectangle 3"/>
          <p:cNvSpPr/>
          <p:nvPr/>
        </p:nvSpPr>
        <p:spPr bwMode="auto">
          <a:xfrm>
            <a:off x="605641" y="4180114"/>
            <a:ext cx="10224654" cy="1876300"/>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video </a:t>
            </a:r>
            <a:r>
              <a:rPr lang="en-US" sz="2000" dirty="0" err="1">
                <a:solidFill>
                  <a:schemeClr val="tx1"/>
                </a:solidFill>
                <a:latin typeface="Consolas" pitchFamily="49" charset="0"/>
                <a:cs typeface="Consolas" pitchFamily="49" charset="0"/>
              </a:rPr>
              <a:t>src</a:t>
            </a:r>
            <a:r>
              <a:rPr lang="en-US" sz="2000" dirty="0">
                <a:solidFill>
                  <a:schemeClr val="tx1"/>
                </a:solidFill>
                <a:latin typeface="Consolas" pitchFamily="49" charset="0"/>
                <a:cs typeface="Consolas" pitchFamily="49" charset="0"/>
              </a:rPr>
              <a:t>="video.mp4" id="</a:t>
            </a:r>
            <a:r>
              <a:rPr lang="en-US" sz="2000" dirty="0" err="1">
                <a:solidFill>
                  <a:schemeClr val="tx1"/>
                </a:solidFill>
                <a:latin typeface="Consolas" pitchFamily="49" charset="0"/>
                <a:cs typeface="Consolas" pitchFamily="49" charset="0"/>
              </a:rPr>
              <a:t>videoTag</a:t>
            </a:r>
            <a:r>
              <a:rPr lang="en-US" sz="2000" dirty="0">
                <a:solidFill>
                  <a:schemeClr val="tx1"/>
                </a:solidFill>
                <a:latin typeface="Consolas" pitchFamily="49" charset="0"/>
                <a:cs typeface="Consolas" pitchFamily="49" charset="0"/>
              </a:rPr>
              <a:t>" width="640px" height="360px"&gt;</a:t>
            </a:r>
          </a:p>
          <a:p>
            <a:r>
              <a:rPr lang="en-US" sz="2000" dirty="0">
                <a:solidFill>
                  <a:schemeClr val="tx1"/>
                </a:solidFill>
                <a:latin typeface="Consolas" pitchFamily="49" charset="0"/>
                <a:cs typeface="Consolas" pitchFamily="49" charset="0"/>
              </a:rPr>
              <a:t>  &lt;!-- Only shown when browser doesn’t support video --&gt;</a:t>
            </a:r>
          </a:p>
          <a:p>
            <a:r>
              <a:rPr lang="en-US" sz="2000" dirty="0">
                <a:solidFill>
                  <a:schemeClr val="tx1"/>
                </a:solidFill>
                <a:latin typeface="Consolas" pitchFamily="49" charset="0"/>
                <a:cs typeface="Consolas" pitchFamily="49" charset="0"/>
              </a:rPr>
              <a:t>  &lt;!-- You Could Embed Flash or Silverlight Video Here --&gt;</a:t>
            </a:r>
          </a:p>
          <a:p>
            <a:r>
              <a:rPr lang="en-US" sz="2000" dirty="0">
                <a:solidFill>
                  <a:schemeClr val="tx1"/>
                </a:solidFill>
                <a:latin typeface="Consolas" pitchFamily="49" charset="0"/>
                <a:cs typeface="Consolas" pitchFamily="49" charset="0"/>
              </a:rPr>
              <a:t>&lt;/video&gt;</a:t>
            </a:r>
          </a:p>
        </p:txBody>
      </p:sp>
    </p:spTree>
    <p:extLst>
      <p:ext uri="{BB962C8B-B14F-4D97-AF65-F5344CB8AC3E}">
        <p14:creationId xmlns:p14="http://schemas.microsoft.com/office/powerpoint/2010/main" val="51512857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447799"/>
            <a:ext cx="11149013" cy="3019288"/>
          </a:xfrm>
        </p:spPr>
        <p:txBody>
          <a:bodyPr/>
          <a:lstStyle/>
          <a:p>
            <a:pPr marL="460375" indent="-457200">
              <a:buFont typeface="Arial" pitchFamily="34" charset="0"/>
              <a:buChar char="•"/>
            </a:pPr>
            <a:r>
              <a:rPr lang="en-US" sz="2400" dirty="0"/>
              <a:t>Industry-standard MP3 and AAC audio</a:t>
            </a:r>
          </a:p>
          <a:p>
            <a:pPr marL="460375" indent="-457200">
              <a:buFont typeface="Arial" pitchFamily="34" charset="0"/>
              <a:buChar char="•"/>
            </a:pPr>
            <a:r>
              <a:rPr lang="en-US" sz="2400" dirty="0"/>
              <a:t>Fully scriptable via the </a:t>
            </a:r>
            <a:r>
              <a:rPr lang="en-US" sz="2400" dirty="0" smtClean="0"/>
              <a:t>DOM</a:t>
            </a:r>
          </a:p>
          <a:p>
            <a:r>
              <a:rPr lang="en-US" sz="2400" dirty="0" smtClean="0"/>
              <a:t>Attributes</a:t>
            </a:r>
          </a:p>
          <a:p>
            <a:pPr marL="460375" indent="-457200">
              <a:buFont typeface="Arial" pitchFamily="34" charset="0"/>
              <a:buChar char="•"/>
            </a:pPr>
            <a:r>
              <a:rPr lang="en-US" sz="2400" dirty="0" err="1"/>
              <a:t>src</a:t>
            </a:r>
            <a:r>
              <a:rPr lang="en-US" sz="2400" dirty="0"/>
              <a:t> – specifies the location to pull the source file</a:t>
            </a:r>
          </a:p>
          <a:p>
            <a:pPr marL="460375" indent="-457200">
              <a:buFont typeface="Arial" pitchFamily="34" charset="0"/>
              <a:buChar char="•"/>
            </a:pPr>
            <a:r>
              <a:rPr lang="en-US" sz="2400" dirty="0" err="1"/>
              <a:t>autoplay</a:t>
            </a:r>
            <a:r>
              <a:rPr lang="en-US" sz="2400" dirty="0"/>
              <a:t> – if present starts playing as soon as it’s ready</a:t>
            </a:r>
          </a:p>
          <a:p>
            <a:pPr marL="460375" indent="-457200">
              <a:buFont typeface="Arial" pitchFamily="34" charset="0"/>
              <a:buChar char="•"/>
            </a:pPr>
            <a:r>
              <a:rPr lang="en-US" sz="2400" dirty="0"/>
              <a:t>controls – if present displays controls</a:t>
            </a:r>
          </a:p>
          <a:p>
            <a:pPr marL="460375" indent="-457200">
              <a:buFont typeface="Arial" pitchFamily="34" charset="0"/>
              <a:buChar char="•"/>
            </a:pPr>
            <a:r>
              <a:rPr lang="en-US" sz="2400" dirty="0"/>
              <a:t>preload – if present loads source at page </a:t>
            </a:r>
            <a:r>
              <a:rPr lang="en-US" sz="2400" dirty="0" smtClean="0"/>
              <a:t>load</a:t>
            </a:r>
            <a:endParaRPr lang="en-US" sz="2400" dirty="0"/>
          </a:p>
        </p:txBody>
      </p:sp>
      <p:sp>
        <p:nvSpPr>
          <p:cNvPr id="5" name="Rounded Rectangle 4"/>
          <p:cNvSpPr/>
          <p:nvPr/>
        </p:nvSpPr>
        <p:spPr bwMode="auto">
          <a:xfrm>
            <a:off x="605641" y="4655127"/>
            <a:ext cx="10224654" cy="1401286"/>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audio </a:t>
            </a:r>
            <a:r>
              <a:rPr lang="en-US" sz="2000" dirty="0" err="1">
                <a:solidFill>
                  <a:schemeClr val="tx1"/>
                </a:solidFill>
                <a:latin typeface="Consolas" pitchFamily="49" charset="0"/>
                <a:cs typeface="Consolas" pitchFamily="49" charset="0"/>
              </a:rPr>
              <a:t>src</a:t>
            </a:r>
            <a:r>
              <a:rPr lang="en-US" sz="2000" dirty="0">
                <a:solidFill>
                  <a:schemeClr val="tx1"/>
                </a:solidFill>
                <a:latin typeface="Consolas" pitchFamily="49" charset="0"/>
                <a:cs typeface="Consolas" pitchFamily="49" charset="0"/>
              </a:rPr>
              <a:t>="audio.mp3" id="</a:t>
            </a:r>
            <a:r>
              <a:rPr lang="en-US" sz="2000" dirty="0" err="1">
                <a:solidFill>
                  <a:schemeClr val="tx1"/>
                </a:solidFill>
                <a:latin typeface="Consolas" pitchFamily="49" charset="0"/>
                <a:cs typeface="Consolas" pitchFamily="49" charset="0"/>
              </a:rPr>
              <a:t>audioTag</a:t>
            </a:r>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autoplay</a:t>
            </a:r>
            <a:r>
              <a:rPr lang="en-US" sz="2000" dirty="0">
                <a:solidFill>
                  <a:schemeClr val="tx1"/>
                </a:solidFill>
                <a:latin typeface="Consolas" pitchFamily="49" charset="0"/>
                <a:cs typeface="Consolas" pitchFamily="49" charset="0"/>
              </a:rPr>
              <a:t> controls&gt;</a:t>
            </a:r>
          </a:p>
          <a:p>
            <a:r>
              <a:rPr lang="en-US" sz="2000" dirty="0">
                <a:solidFill>
                  <a:schemeClr val="tx1"/>
                </a:solidFill>
                <a:latin typeface="Consolas" pitchFamily="49" charset="0"/>
                <a:cs typeface="Consolas" pitchFamily="49" charset="0"/>
              </a:rPr>
              <a:t>  &lt;!-- Only shown when browser doesn’t support audio --&gt;</a:t>
            </a:r>
          </a:p>
          <a:p>
            <a:r>
              <a:rPr lang="en-US" sz="2000" dirty="0">
                <a:solidFill>
                  <a:schemeClr val="tx1"/>
                </a:solidFill>
                <a:latin typeface="Consolas" pitchFamily="49" charset="0"/>
                <a:cs typeface="Consolas" pitchFamily="49" charset="0"/>
              </a:rPr>
              <a:t>  &lt;!-- You could embed Flash or Silverlight audio here --&gt;</a:t>
            </a:r>
          </a:p>
          <a:p>
            <a:r>
              <a:rPr lang="en-US" sz="2000" dirty="0">
                <a:solidFill>
                  <a:schemeClr val="tx1"/>
                </a:solidFill>
                <a:latin typeface="Consolas" pitchFamily="49" charset="0"/>
                <a:cs typeface="Consolas" pitchFamily="49" charset="0"/>
              </a:rPr>
              <a:t>&lt;/audio&gt;</a:t>
            </a:r>
          </a:p>
        </p:txBody>
      </p:sp>
    </p:spTree>
    <p:extLst>
      <p:ext uri="{BB962C8B-B14F-4D97-AF65-F5344CB8AC3E}">
        <p14:creationId xmlns:p14="http://schemas.microsoft.com/office/powerpoint/2010/main" val="118719995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3029093"/>
            <a:ext cx="8202259" cy="2019014"/>
          </a:xfrm>
        </p:spPr>
        <p:txBody>
          <a:bodyPr/>
          <a:lstStyle/>
          <a:p>
            <a:r>
              <a:rPr lang="en-US" sz="3200" dirty="0" smtClean="0"/>
              <a:t>First Topic</a:t>
            </a:r>
          </a:p>
          <a:p>
            <a:r>
              <a:rPr lang="en-US" sz="3200" dirty="0" smtClean="0"/>
              <a:t>Second Topic</a:t>
            </a:r>
          </a:p>
          <a:p>
            <a:r>
              <a:rPr lang="en-US" sz="3200" dirty="0" smtClean="0"/>
              <a:t>Third Topic</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828007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HTML5</a:t>
            </a:r>
            <a:endParaRPr lang="en-US" dirty="0"/>
          </a:p>
        </p:txBody>
      </p:sp>
      <p:sp>
        <p:nvSpPr>
          <p:cNvPr id="7" name="Subtitle 6"/>
          <p:cNvSpPr>
            <a:spLocks noGrp="1"/>
          </p:cNvSpPr>
          <p:nvPr>
            <p:ph type="subTitle" idx="1"/>
          </p:nvPr>
        </p:nvSpPr>
        <p:spPr/>
        <p:txBody>
          <a:bodyPr/>
          <a:lstStyle/>
          <a:p>
            <a:r>
              <a:rPr lang="en-US" dirty="0" smtClean="0"/>
              <a:t>new markup features</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497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VG</a:t>
            </a:r>
            <a:endParaRPr lang="en-US" dirty="0"/>
          </a:p>
        </p:txBody>
      </p:sp>
      <p:graphicFrame>
        <p:nvGraphicFramePr>
          <p:cNvPr id="4" name="Diagram 3"/>
          <p:cNvGraphicFramePr/>
          <p:nvPr>
            <p:extLst>
              <p:ext uri="{D42A27DB-BD31-4B8C-83A1-F6EECF244321}">
                <p14:modId xmlns:p14="http://schemas.microsoft.com/office/powerpoint/2010/main" val="1416335001"/>
              </p:ext>
            </p:extLst>
          </p:nvPr>
        </p:nvGraphicFramePr>
        <p:xfrm>
          <a:off x="2031471" y="720372"/>
          <a:ext cx="8125883" cy="5417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917902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reating SVG Shapes</a:t>
            </a:r>
            <a:endParaRPr lang="en-US" dirty="0"/>
          </a:p>
        </p:txBody>
      </p:sp>
      <p:sp>
        <p:nvSpPr>
          <p:cNvPr id="18" name="Text Placeholder 17"/>
          <p:cNvSpPr>
            <a:spLocks noGrp="1"/>
          </p:cNvSpPr>
          <p:nvPr>
            <p:ph type="body" sz="quarter" idx="10"/>
          </p:nvPr>
        </p:nvSpPr>
        <p:spPr>
          <a:xfrm>
            <a:off x="519112" y="1213873"/>
            <a:ext cx="11149013" cy="780214"/>
          </a:xfrm>
        </p:spPr>
        <p:txBody>
          <a:bodyPr/>
          <a:lstStyle/>
          <a:p>
            <a:pPr marL="460375" indent="-457200">
              <a:buFont typeface="Arial" pitchFamily="34" charset="0"/>
              <a:buChar char="•"/>
            </a:pPr>
            <a:r>
              <a:rPr lang="en-US" sz="2400" dirty="0" smtClean="0"/>
              <a:t>Declarative creation of shapes</a:t>
            </a:r>
          </a:p>
          <a:p>
            <a:pPr marL="460375" indent="-457200">
              <a:buFont typeface="Arial" pitchFamily="34" charset="0"/>
              <a:buChar char="•"/>
            </a:pPr>
            <a:r>
              <a:rPr lang="en-US" sz="2400" dirty="0" smtClean="0"/>
              <a:t>Numerous shapes available: circle, </a:t>
            </a:r>
            <a:r>
              <a:rPr lang="en-US" sz="2400" dirty="0" err="1" smtClean="0"/>
              <a:t>rect</a:t>
            </a:r>
            <a:r>
              <a:rPr lang="en-US" sz="2400" dirty="0" smtClean="0"/>
              <a:t>, ellipse, line, polyline, polygon, path</a:t>
            </a:r>
            <a:endParaRPr lang="en-US" sz="2400" dirty="0"/>
          </a:p>
        </p:txBody>
      </p:sp>
      <p:sp>
        <p:nvSpPr>
          <p:cNvPr id="5" name="Rounded Rectangle 4"/>
          <p:cNvSpPr/>
          <p:nvPr/>
        </p:nvSpPr>
        <p:spPr bwMode="auto">
          <a:xfrm>
            <a:off x="605641" y="2105247"/>
            <a:ext cx="7613326" cy="4231758"/>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tx1"/>
                </a:solidFill>
                <a:latin typeface="Consolas" pitchFamily="49" charset="0"/>
                <a:cs typeface="Consolas" pitchFamily="49" charset="0"/>
              </a:rPr>
              <a:t>&lt;</a:t>
            </a:r>
            <a:r>
              <a:rPr lang="en-US" sz="1800" dirty="0" err="1">
                <a:solidFill>
                  <a:schemeClr val="tx1"/>
                </a:solidFill>
                <a:latin typeface="Consolas" pitchFamily="49" charset="0"/>
                <a:cs typeface="Consolas" pitchFamily="49" charset="0"/>
              </a:rPr>
              <a:t>svg</a:t>
            </a:r>
            <a:r>
              <a:rPr lang="en-US" sz="1800" dirty="0">
                <a:solidFill>
                  <a:schemeClr val="tx1"/>
                </a:solidFill>
                <a:latin typeface="Consolas" pitchFamily="49" charset="0"/>
                <a:cs typeface="Consolas" pitchFamily="49" charset="0"/>
              </a:rPr>
              <a:t> height="200" </a:t>
            </a:r>
            <a:r>
              <a:rPr lang="en-US" sz="1800" dirty="0" err="1">
                <a:solidFill>
                  <a:schemeClr val="tx1"/>
                </a:solidFill>
                <a:latin typeface="Consolas" pitchFamily="49" charset="0"/>
                <a:cs typeface="Consolas" pitchFamily="49" charset="0"/>
              </a:rPr>
              <a:t>xmlns</a:t>
            </a:r>
            <a:r>
              <a:rPr lang="en-US" sz="1800" dirty="0">
                <a:solidFill>
                  <a:schemeClr val="tx1"/>
                </a:solidFill>
                <a:latin typeface="Consolas" pitchFamily="49" charset="0"/>
                <a:cs typeface="Consolas" pitchFamily="49" charset="0"/>
              </a:rPr>
              <a:t>="http://www.w3.org/2000/svg"&gt;</a:t>
            </a:r>
          </a:p>
          <a:p>
            <a:r>
              <a:rPr lang="en-US" sz="1800" dirty="0">
                <a:solidFill>
                  <a:schemeClr val="tx1"/>
                </a:solidFill>
                <a:latin typeface="Consolas" pitchFamily="49" charset="0"/>
                <a:cs typeface="Consolas" pitchFamily="49" charset="0"/>
              </a:rPr>
              <a:t>    &lt;circle id="</a:t>
            </a:r>
            <a:r>
              <a:rPr lang="en-US" sz="1800" dirty="0" err="1">
                <a:solidFill>
                  <a:schemeClr val="tx1"/>
                </a:solidFill>
                <a:latin typeface="Consolas" pitchFamily="49" charset="0"/>
                <a:cs typeface="Consolas" pitchFamily="49" charset="0"/>
              </a:rPr>
              <a:t>blueCircle</a:t>
            </a:r>
            <a:r>
              <a:rPr lang="en-US" sz="1800" dirty="0">
                <a:solidFill>
                  <a:schemeClr val="tx1"/>
                </a:solidFill>
                <a:latin typeface="Consolas" pitchFamily="49" charset="0"/>
                <a:cs typeface="Consolas" pitchFamily="49" charset="0"/>
              </a:rPr>
              <a:t>" </a:t>
            </a:r>
            <a:endParaRPr lang="en-US" sz="1800" dirty="0" smtClean="0">
              <a:solidFill>
                <a:schemeClr val="tx1"/>
              </a:solidFill>
              <a:latin typeface="Consolas" pitchFamily="49" charset="0"/>
              <a:cs typeface="Consolas" pitchFamily="49" charset="0"/>
            </a:endParaRPr>
          </a:p>
          <a:p>
            <a:r>
              <a:rPr lang="en-US" sz="1800" dirty="0">
                <a:solidFill>
                  <a:schemeClr val="tx1"/>
                </a:solidFill>
                <a:latin typeface="Consolas" pitchFamily="49" charset="0"/>
                <a:cs typeface="Consolas" pitchFamily="49" charset="0"/>
              </a:rPr>
              <a:t> </a:t>
            </a:r>
            <a:r>
              <a:rPr lang="en-US" sz="1800" dirty="0" smtClean="0">
                <a:solidFill>
                  <a:schemeClr val="tx1"/>
                </a:solidFill>
                <a:latin typeface="Consolas" pitchFamily="49" charset="0"/>
                <a:cs typeface="Consolas" pitchFamily="49" charset="0"/>
              </a:rPr>
              <a:t>           cx</a:t>
            </a:r>
            <a:r>
              <a:rPr lang="en-US" sz="1800" dirty="0">
                <a:solidFill>
                  <a:schemeClr val="tx1"/>
                </a:solidFill>
                <a:latin typeface="Consolas" pitchFamily="49" charset="0"/>
                <a:cs typeface="Consolas" pitchFamily="49" charset="0"/>
              </a:rPr>
              <a:t>="70" </a:t>
            </a:r>
            <a:endParaRPr lang="en-US" sz="1800" dirty="0" smtClean="0">
              <a:solidFill>
                <a:schemeClr val="tx1"/>
              </a:solidFill>
              <a:latin typeface="Consolas" pitchFamily="49" charset="0"/>
              <a:cs typeface="Consolas" pitchFamily="49" charset="0"/>
            </a:endParaRPr>
          </a:p>
          <a:p>
            <a:r>
              <a:rPr lang="en-US" sz="1800" dirty="0">
                <a:solidFill>
                  <a:schemeClr val="tx1"/>
                </a:solidFill>
                <a:latin typeface="Consolas" pitchFamily="49" charset="0"/>
                <a:cs typeface="Consolas" pitchFamily="49" charset="0"/>
              </a:rPr>
              <a:t> </a:t>
            </a:r>
            <a:r>
              <a:rPr lang="en-US" sz="1800" dirty="0" smtClean="0">
                <a:solidFill>
                  <a:schemeClr val="tx1"/>
                </a:solidFill>
                <a:latin typeface="Consolas" pitchFamily="49" charset="0"/>
                <a:cs typeface="Consolas" pitchFamily="49" charset="0"/>
              </a:rPr>
              <a:t>           cy</a:t>
            </a:r>
            <a:r>
              <a:rPr lang="en-US" sz="1800" dirty="0">
                <a:solidFill>
                  <a:schemeClr val="tx1"/>
                </a:solidFill>
                <a:latin typeface="Consolas" pitchFamily="49" charset="0"/>
                <a:cs typeface="Consolas" pitchFamily="49" charset="0"/>
              </a:rPr>
              <a:t>="70" r="50" </a:t>
            </a:r>
            <a:endParaRPr lang="en-US" sz="1800" dirty="0" smtClean="0">
              <a:solidFill>
                <a:schemeClr val="tx1"/>
              </a:solidFill>
              <a:latin typeface="Consolas" pitchFamily="49" charset="0"/>
              <a:cs typeface="Consolas" pitchFamily="49" charset="0"/>
            </a:endParaRPr>
          </a:p>
          <a:p>
            <a:r>
              <a:rPr lang="en-US" sz="1800" dirty="0">
                <a:solidFill>
                  <a:schemeClr val="tx1"/>
                </a:solidFill>
                <a:latin typeface="Consolas" pitchFamily="49" charset="0"/>
                <a:cs typeface="Consolas" pitchFamily="49" charset="0"/>
              </a:rPr>
              <a:t> </a:t>
            </a:r>
            <a:r>
              <a:rPr lang="en-US" sz="1800" dirty="0" smtClean="0">
                <a:solidFill>
                  <a:schemeClr val="tx1"/>
                </a:solidFill>
                <a:latin typeface="Consolas" pitchFamily="49" charset="0"/>
                <a:cs typeface="Consolas" pitchFamily="49" charset="0"/>
              </a:rPr>
              <a:t>           fill</a:t>
            </a:r>
            <a:r>
              <a:rPr lang="en-US" sz="1800" dirty="0">
                <a:solidFill>
                  <a:schemeClr val="tx1"/>
                </a:solidFill>
                <a:latin typeface="Consolas" pitchFamily="49" charset="0"/>
                <a:cs typeface="Consolas" pitchFamily="49" charset="0"/>
              </a:rPr>
              <a:t>="#8dc703" /&gt;</a:t>
            </a:r>
          </a:p>
          <a:p>
            <a:r>
              <a:rPr lang="en-US" sz="1800" dirty="0">
                <a:solidFill>
                  <a:schemeClr val="tx1"/>
                </a:solidFill>
                <a:latin typeface="Consolas" pitchFamily="49" charset="0"/>
                <a:cs typeface="Consolas" pitchFamily="49" charset="0"/>
              </a:rPr>
              <a:t>&lt;/</a:t>
            </a:r>
            <a:r>
              <a:rPr lang="en-US" sz="1800" dirty="0" err="1">
                <a:solidFill>
                  <a:schemeClr val="tx1"/>
                </a:solidFill>
                <a:latin typeface="Consolas" pitchFamily="49" charset="0"/>
                <a:cs typeface="Consolas" pitchFamily="49" charset="0"/>
              </a:rPr>
              <a:t>svg</a:t>
            </a:r>
            <a:r>
              <a:rPr lang="en-US" sz="1800" dirty="0">
                <a:solidFill>
                  <a:schemeClr val="tx1"/>
                </a:solidFill>
                <a:latin typeface="Consolas" pitchFamily="49" charset="0"/>
                <a:cs typeface="Consolas" pitchFamily="49" charset="0"/>
              </a:rPr>
              <a:t>&gt;</a:t>
            </a:r>
          </a:p>
          <a:p>
            <a:endParaRPr lang="en-US" sz="1800" dirty="0">
              <a:solidFill>
                <a:schemeClr val="tx1"/>
              </a:solidFill>
              <a:latin typeface="Consolas" pitchFamily="49" charset="0"/>
              <a:cs typeface="Consolas" pitchFamily="49" charset="0"/>
            </a:endParaRPr>
          </a:p>
          <a:p>
            <a:r>
              <a:rPr lang="en-US" sz="1800" dirty="0">
                <a:solidFill>
                  <a:schemeClr val="tx1"/>
                </a:solidFill>
                <a:latin typeface="Consolas" pitchFamily="49" charset="0"/>
                <a:cs typeface="Consolas" pitchFamily="49" charset="0"/>
              </a:rPr>
              <a:t>&lt;</a:t>
            </a:r>
            <a:r>
              <a:rPr lang="en-US" sz="1800" dirty="0" err="1">
                <a:solidFill>
                  <a:schemeClr val="tx1"/>
                </a:solidFill>
                <a:latin typeface="Consolas" pitchFamily="49" charset="0"/>
                <a:cs typeface="Consolas" pitchFamily="49" charset="0"/>
              </a:rPr>
              <a:t>svg</a:t>
            </a:r>
            <a:r>
              <a:rPr lang="en-US" sz="1800" dirty="0">
                <a:solidFill>
                  <a:schemeClr val="tx1"/>
                </a:solidFill>
                <a:latin typeface="Consolas" pitchFamily="49" charset="0"/>
                <a:cs typeface="Consolas" pitchFamily="49" charset="0"/>
              </a:rPr>
              <a:t> height="200" </a:t>
            </a:r>
            <a:r>
              <a:rPr lang="en-US" sz="1800" dirty="0" err="1">
                <a:solidFill>
                  <a:schemeClr val="tx1"/>
                </a:solidFill>
                <a:latin typeface="Consolas" pitchFamily="49" charset="0"/>
                <a:cs typeface="Consolas" pitchFamily="49" charset="0"/>
              </a:rPr>
              <a:t>xmlns</a:t>
            </a:r>
            <a:r>
              <a:rPr lang="en-US" sz="1800" dirty="0">
                <a:solidFill>
                  <a:schemeClr val="tx1"/>
                </a:solidFill>
                <a:latin typeface="Consolas" pitchFamily="49" charset="0"/>
                <a:cs typeface="Consolas" pitchFamily="49" charset="0"/>
              </a:rPr>
              <a:t>="http://www.w3.org/2000/svg"&gt;</a:t>
            </a:r>
          </a:p>
          <a:p>
            <a:r>
              <a:rPr lang="en-US" sz="1800" dirty="0">
                <a:solidFill>
                  <a:schemeClr val="tx1"/>
                </a:solidFill>
                <a:latin typeface="Consolas" pitchFamily="49" charset="0"/>
                <a:cs typeface="Consolas" pitchFamily="49" charset="0"/>
              </a:rPr>
              <a:t>    &lt;path d="M 20 20 L 150 150 L 20 300 z" </a:t>
            </a:r>
          </a:p>
          <a:p>
            <a:r>
              <a:rPr lang="en-US" sz="1800" dirty="0">
                <a:solidFill>
                  <a:schemeClr val="tx1"/>
                </a:solidFill>
                <a:latin typeface="Consolas" pitchFamily="49" charset="0"/>
                <a:cs typeface="Consolas" pitchFamily="49" charset="0"/>
              </a:rPr>
              <a:t>          fill="#000" </a:t>
            </a:r>
          </a:p>
          <a:p>
            <a:r>
              <a:rPr lang="en-US" sz="1800" dirty="0">
                <a:solidFill>
                  <a:schemeClr val="tx1"/>
                </a:solidFill>
                <a:latin typeface="Consolas" pitchFamily="49" charset="0"/>
                <a:cs typeface="Consolas" pitchFamily="49" charset="0"/>
              </a:rPr>
              <a:t>          stroke="#8dc703" </a:t>
            </a:r>
          </a:p>
          <a:p>
            <a:r>
              <a:rPr lang="en-US" sz="1800" dirty="0">
                <a:solidFill>
                  <a:schemeClr val="tx1"/>
                </a:solidFill>
                <a:latin typeface="Consolas" pitchFamily="49" charset="0"/>
                <a:cs typeface="Consolas" pitchFamily="49" charset="0"/>
              </a:rPr>
              <a:t>          stroke-width="3" /&gt;</a:t>
            </a:r>
          </a:p>
          <a:p>
            <a:r>
              <a:rPr lang="en-US" sz="1800" dirty="0">
                <a:solidFill>
                  <a:schemeClr val="tx1"/>
                </a:solidFill>
                <a:latin typeface="Consolas" pitchFamily="49" charset="0"/>
                <a:cs typeface="Consolas" pitchFamily="49" charset="0"/>
              </a:rPr>
              <a:t>&lt;/</a:t>
            </a:r>
            <a:r>
              <a:rPr lang="en-US" sz="1800" dirty="0" err="1">
                <a:solidFill>
                  <a:schemeClr val="tx1"/>
                </a:solidFill>
                <a:latin typeface="Consolas" pitchFamily="49" charset="0"/>
                <a:cs typeface="Consolas" pitchFamily="49" charset="0"/>
              </a:rPr>
              <a:t>svg</a:t>
            </a:r>
            <a:r>
              <a:rPr lang="en-US" sz="1800" dirty="0">
                <a:solidFill>
                  <a:schemeClr val="tx1"/>
                </a:solidFill>
                <a:latin typeface="Consolas" pitchFamily="49" charset="0"/>
                <a:cs typeface="Consolas" pitchFamily="49" charset="0"/>
              </a:rPr>
              <a:t>&gt;</a:t>
            </a:r>
          </a:p>
        </p:txBody>
      </p:sp>
      <p:pic>
        <p:nvPicPr>
          <p:cNvPr id="69634" name="Picture 2" descr="C:\Users\bradyg\AppData\Local\Temp\SNAGHTML1ec936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20940" y="2105247"/>
            <a:ext cx="3372182" cy="4231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56868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554514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VG</a:t>
            </a:r>
            <a:endParaRPr lang="en-US" dirty="0"/>
          </a:p>
        </p:txBody>
      </p:sp>
      <p:sp>
        <p:nvSpPr>
          <p:cNvPr id="7" name="Subtitle 6"/>
          <p:cNvSpPr>
            <a:spLocks noGrp="1"/>
          </p:cNvSpPr>
          <p:nvPr>
            <p:ph type="subTitle" idx="1"/>
          </p:nvPr>
        </p:nvSpPr>
        <p:spPr/>
        <p:txBody>
          <a:bodyPr/>
          <a:lstStyle/>
          <a:p>
            <a:r>
              <a:rPr lang="en-US" dirty="0" smtClean="0"/>
              <a:t>vector graphics via markup</a:t>
            </a:r>
            <a:endParaRPr lang="en-US" dirty="0"/>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98764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Fonts </a:t>
            </a:r>
            <a:r>
              <a:rPr lang="en-US" dirty="0"/>
              <a:t>&amp; @font-face</a:t>
            </a:r>
          </a:p>
        </p:txBody>
      </p:sp>
      <p:sp>
        <p:nvSpPr>
          <p:cNvPr id="18" name="Text Placeholder 17"/>
          <p:cNvSpPr>
            <a:spLocks noGrp="1"/>
          </p:cNvSpPr>
          <p:nvPr>
            <p:ph type="body" sz="quarter" idx="10"/>
          </p:nvPr>
        </p:nvSpPr>
        <p:spPr>
          <a:xfrm>
            <a:off x="519112" y="1447799"/>
            <a:ext cx="11149013" cy="780214"/>
          </a:xfrm>
        </p:spPr>
        <p:txBody>
          <a:bodyPr/>
          <a:lstStyle/>
          <a:p>
            <a:pPr marL="460375" indent="-457200">
              <a:buFont typeface="Arial" pitchFamily="34" charset="0"/>
              <a:buChar char="•"/>
            </a:pPr>
            <a:r>
              <a:rPr lang="en-US" sz="2400" dirty="0" smtClean="0"/>
              <a:t>Web </a:t>
            </a:r>
            <a:r>
              <a:rPr lang="en-US" sz="2400" dirty="0"/>
              <a:t>Open Font Format allows you to package and deliver fonts as needed, per site</a:t>
            </a:r>
          </a:p>
          <a:p>
            <a:pPr marL="460375" indent="-457200">
              <a:buFont typeface="Arial" pitchFamily="34" charset="0"/>
              <a:buChar char="•"/>
            </a:pPr>
            <a:r>
              <a:rPr lang="en-US" sz="2400" dirty="0"/>
              <a:t>Designed for web use with the @font-face </a:t>
            </a:r>
            <a:r>
              <a:rPr lang="en-US" sz="2400" dirty="0" smtClean="0"/>
              <a:t>declaration</a:t>
            </a:r>
            <a:endParaRPr lang="en-US" sz="2400" dirty="0"/>
          </a:p>
        </p:txBody>
      </p:sp>
      <p:sp>
        <p:nvSpPr>
          <p:cNvPr id="5" name="Rounded Rectangle 4"/>
          <p:cNvSpPr/>
          <p:nvPr/>
        </p:nvSpPr>
        <p:spPr bwMode="auto">
          <a:xfrm>
            <a:off x="605641" y="2517569"/>
            <a:ext cx="10224654" cy="3538844"/>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style type="text/</a:t>
            </a:r>
            <a:r>
              <a:rPr lang="en-US" sz="2000" dirty="0" err="1">
                <a:solidFill>
                  <a:schemeClr val="tx1"/>
                </a:solidFill>
                <a:latin typeface="Consolas" pitchFamily="49" charset="0"/>
                <a:cs typeface="Consolas" pitchFamily="49" charset="0"/>
              </a:rPr>
              <a:t>css</a:t>
            </a:r>
            <a:r>
              <a:rPr lang="en-US" sz="2000" dirty="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font-face {</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font-family:MyFontName</a:t>
            </a:r>
            <a:r>
              <a:rPr lang="en-US" sz="2000" dirty="0">
                <a:solidFill>
                  <a:schemeClr val="tx1"/>
                </a:solidFill>
                <a:latin typeface="Consolas" pitchFamily="49" charset="0"/>
                <a:cs typeface="Consolas" pitchFamily="49" charset="0"/>
              </a:rPr>
              <a:t>;</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src</a:t>
            </a:r>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url</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FontFile.woff</a:t>
            </a:r>
            <a:r>
              <a:rPr lang="en-US" sz="2000" dirty="0">
                <a:solidFill>
                  <a:schemeClr val="tx1"/>
                </a:solidFill>
                <a:latin typeface="Consolas" pitchFamily="49" charset="0"/>
                <a:cs typeface="Consolas" pitchFamily="49" charset="0"/>
              </a:rPr>
              <a:t>');</a:t>
            </a:r>
          </a:p>
          <a:p>
            <a:r>
              <a:rPr lang="en-US" sz="2000" dirty="0">
                <a:solidFill>
                  <a:schemeClr val="tx1"/>
                </a:solidFill>
                <a:latin typeface="Consolas" pitchFamily="49" charset="0"/>
                <a:cs typeface="Consolas" pitchFamily="49" charset="0"/>
              </a:rPr>
              <a:t> } </a:t>
            </a:r>
          </a:p>
          <a:p>
            <a:r>
              <a:rPr lang="en-US" sz="2000" dirty="0">
                <a:solidFill>
                  <a:schemeClr val="tx1"/>
                </a:solidFill>
                <a:latin typeface="Consolas" pitchFamily="49" charset="0"/>
                <a:cs typeface="Consolas" pitchFamily="49" charset="0"/>
              </a:rPr>
              <a:t>&lt;/style&gt;</a:t>
            </a:r>
          </a:p>
          <a:p>
            <a:endParaRPr lang="en-US" sz="2000" dirty="0">
              <a:solidFill>
                <a:schemeClr val="tx1"/>
              </a:solidFill>
              <a:latin typeface="Consolas" pitchFamily="49" charset="0"/>
              <a:cs typeface="Consolas" pitchFamily="49" charset="0"/>
            </a:endParaRPr>
          </a:p>
          <a:p>
            <a:r>
              <a:rPr lang="en-US" sz="2000" dirty="0">
                <a:solidFill>
                  <a:schemeClr val="tx1"/>
                </a:solidFill>
                <a:latin typeface="Consolas" pitchFamily="49" charset="0"/>
                <a:cs typeface="Consolas" pitchFamily="49" charset="0"/>
              </a:rPr>
              <a:t>&lt;div style="font: 24pt </a:t>
            </a:r>
            <a:r>
              <a:rPr lang="en-US" sz="2000" dirty="0" err="1">
                <a:solidFill>
                  <a:schemeClr val="tx1"/>
                </a:solidFill>
                <a:latin typeface="Consolas" pitchFamily="49" charset="0"/>
                <a:cs typeface="Consolas" pitchFamily="49" charset="0"/>
              </a:rPr>
              <a:t>MyFontName</a:t>
            </a:r>
            <a:r>
              <a:rPr lang="en-US" sz="2000" dirty="0">
                <a:solidFill>
                  <a:schemeClr val="tx1"/>
                </a:solidFill>
                <a:latin typeface="Consolas" pitchFamily="49" charset="0"/>
                <a:cs typeface="Consolas" pitchFamily="49" charset="0"/>
              </a:rPr>
              <a:t>, sans-serif;"&gt;</a:t>
            </a:r>
          </a:p>
          <a:p>
            <a:r>
              <a:rPr lang="en-US" sz="2000" dirty="0">
                <a:solidFill>
                  <a:schemeClr val="tx1"/>
                </a:solidFill>
                <a:latin typeface="Consolas" pitchFamily="49" charset="0"/>
                <a:cs typeface="Consolas" pitchFamily="49" charset="0"/>
              </a:rPr>
              <a:t> This will render using </a:t>
            </a:r>
            <a:r>
              <a:rPr lang="en-US" sz="2000" dirty="0" err="1">
                <a:solidFill>
                  <a:schemeClr val="tx1"/>
                </a:solidFill>
                <a:latin typeface="Consolas" pitchFamily="49" charset="0"/>
                <a:cs typeface="Consolas" pitchFamily="49" charset="0"/>
              </a:rPr>
              <a:t>MyFontName</a:t>
            </a:r>
            <a:r>
              <a:rPr lang="en-US" sz="2000" dirty="0">
                <a:solidFill>
                  <a:schemeClr val="tx1"/>
                </a:solidFill>
                <a:latin typeface="Consolas" pitchFamily="49" charset="0"/>
                <a:cs typeface="Consolas" pitchFamily="49" charset="0"/>
              </a:rPr>
              <a:t> in </a:t>
            </a:r>
            <a:r>
              <a:rPr lang="en-US" sz="2000" dirty="0" err="1">
                <a:solidFill>
                  <a:schemeClr val="tx1"/>
                </a:solidFill>
                <a:latin typeface="Consolas" pitchFamily="49" charset="0"/>
                <a:cs typeface="Consolas" pitchFamily="49" charset="0"/>
              </a:rPr>
              <a:t>FontFile.woff</a:t>
            </a:r>
            <a:endParaRPr lang="en-US" sz="2000" dirty="0">
              <a:solidFill>
                <a:schemeClr val="tx1"/>
              </a:solidFill>
              <a:latin typeface="Consolas" pitchFamily="49" charset="0"/>
              <a:cs typeface="Consolas" pitchFamily="49" charset="0"/>
            </a:endParaRPr>
          </a:p>
          <a:p>
            <a:r>
              <a:rPr lang="en-US" sz="2000" dirty="0">
                <a:solidFill>
                  <a:schemeClr val="tx1"/>
                </a:solidFill>
                <a:latin typeface="Consolas" pitchFamily="49" charset="0"/>
                <a:cs typeface="Consolas" pitchFamily="49" charset="0"/>
              </a:rPr>
              <a:t>&lt;/div&gt;</a:t>
            </a:r>
          </a:p>
        </p:txBody>
      </p:sp>
    </p:spTree>
    <p:extLst>
      <p:ext uri="{BB962C8B-B14F-4D97-AF65-F5344CB8AC3E}">
        <p14:creationId xmlns:p14="http://schemas.microsoft.com/office/powerpoint/2010/main" val="162158716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9112" y="1447799"/>
            <a:ext cx="11149013" cy="332399"/>
          </a:xfrm>
        </p:spPr>
        <p:txBody>
          <a:bodyPr/>
          <a:lstStyle/>
          <a:p>
            <a:pPr marL="460375" indent="-457200">
              <a:buFont typeface="Arial" pitchFamily="34" charset="0"/>
              <a:buChar char="•"/>
            </a:pPr>
            <a:r>
              <a:rPr lang="en-US" sz="2400" dirty="0"/>
              <a:t>Selectively style page based on properties of the media</a:t>
            </a:r>
          </a:p>
        </p:txBody>
      </p:sp>
      <p:sp>
        <p:nvSpPr>
          <p:cNvPr id="5" name="Rounded Rectangle 4"/>
          <p:cNvSpPr/>
          <p:nvPr/>
        </p:nvSpPr>
        <p:spPr bwMode="auto">
          <a:xfrm>
            <a:off x="605641" y="2517569"/>
            <a:ext cx="10224654" cy="3538844"/>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style type="text/</a:t>
            </a:r>
            <a:r>
              <a:rPr lang="en-US" sz="2000" dirty="0" err="1">
                <a:solidFill>
                  <a:schemeClr val="tx1"/>
                </a:solidFill>
                <a:latin typeface="Consolas" pitchFamily="49" charset="0"/>
                <a:cs typeface="Consolas" pitchFamily="49" charset="0"/>
              </a:rPr>
              <a:t>css</a:t>
            </a:r>
            <a:r>
              <a:rPr lang="en-US" sz="2000" dirty="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font-face {</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font-family:MyFontName</a:t>
            </a:r>
            <a:r>
              <a:rPr lang="en-US" sz="2000" dirty="0">
                <a:solidFill>
                  <a:schemeClr val="tx1"/>
                </a:solidFill>
                <a:latin typeface="Consolas" pitchFamily="49" charset="0"/>
                <a:cs typeface="Consolas" pitchFamily="49" charset="0"/>
              </a:rPr>
              <a:t>;</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src</a:t>
            </a:r>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url</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FontFile.woff</a:t>
            </a:r>
            <a:r>
              <a:rPr lang="en-US" sz="2000" dirty="0">
                <a:solidFill>
                  <a:schemeClr val="tx1"/>
                </a:solidFill>
                <a:latin typeface="Consolas" pitchFamily="49" charset="0"/>
                <a:cs typeface="Consolas" pitchFamily="49" charset="0"/>
              </a:rPr>
              <a:t>');</a:t>
            </a:r>
          </a:p>
          <a:p>
            <a:r>
              <a:rPr lang="en-US" sz="2000" dirty="0">
                <a:solidFill>
                  <a:schemeClr val="tx1"/>
                </a:solidFill>
                <a:latin typeface="Consolas" pitchFamily="49" charset="0"/>
                <a:cs typeface="Consolas" pitchFamily="49" charset="0"/>
              </a:rPr>
              <a:t> } </a:t>
            </a:r>
          </a:p>
          <a:p>
            <a:r>
              <a:rPr lang="en-US" sz="2000" dirty="0">
                <a:solidFill>
                  <a:schemeClr val="tx1"/>
                </a:solidFill>
                <a:latin typeface="Consolas" pitchFamily="49" charset="0"/>
                <a:cs typeface="Consolas" pitchFamily="49" charset="0"/>
              </a:rPr>
              <a:t>&lt;/style&gt;</a:t>
            </a:r>
          </a:p>
          <a:p>
            <a:endParaRPr lang="en-US" sz="2000" dirty="0">
              <a:solidFill>
                <a:schemeClr val="tx1"/>
              </a:solidFill>
              <a:latin typeface="Consolas" pitchFamily="49" charset="0"/>
              <a:cs typeface="Consolas" pitchFamily="49" charset="0"/>
            </a:endParaRPr>
          </a:p>
          <a:p>
            <a:r>
              <a:rPr lang="en-US" sz="2000" dirty="0">
                <a:solidFill>
                  <a:schemeClr val="tx1"/>
                </a:solidFill>
                <a:latin typeface="Consolas" pitchFamily="49" charset="0"/>
                <a:cs typeface="Consolas" pitchFamily="49" charset="0"/>
              </a:rPr>
              <a:t>&lt;div style="font: 24pt </a:t>
            </a:r>
            <a:r>
              <a:rPr lang="en-US" sz="2000" dirty="0" err="1">
                <a:solidFill>
                  <a:schemeClr val="tx1"/>
                </a:solidFill>
                <a:latin typeface="Consolas" pitchFamily="49" charset="0"/>
                <a:cs typeface="Consolas" pitchFamily="49" charset="0"/>
              </a:rPr>
              <a:t>MyFontName</a:t>
            </a:r>
            <a:r>
              <a:rPr lang="en-US" sz="2000" dirty="0">
                <a:solidFill>
                  <a:schemeClr val="tx1"/>
                </a:solidFill>
                <a:latin typeface="Consolas" pitchFamily="49" charset="0"/>
                <a:cs typeface="Consolas" pitchFamily="49" charset="0"/>
              </a:rPr>
              <a:t>, sans-serif;"&gt;</a:t>
            </a:r>
          </a:p>
          <a:p>
            <a:r>
              <a:rPr lang="en-US" sz="2000" dirty="0">
                <a:solidFill>
                  <a:schemeClr val="tx1"/>
                </a:solidFill>
                <a:latin typeface="Consolas" pitchFamily="49" charset="0"/>
                <a:cs typeface="Consolas" pitchFamily="49" charset="0"/>
              </a:rPr>
              <a:t> This will render using </a:t>
            </a:r>
            <a:r>
              <a:rPr lang="en-US" sz="2000" dirty="0" err="1">
                <a:solidFill>
                  <a:schemeClr val="tx1"/>
                </a:solidFill>
                <a:latin typeface="Consolas" pitchFamily="49" charset="0"/>
                <a:cs typeface="Consolas" pitchFamily="49" charset="0"/>
              </a:rPr>
              <a:t>MyFontName</a:t>
            </a:r>
            <a:r>
              <a:rPr lang="en-US" sz="2000" dirty="0">
                <a:solidFill>
                  <a:schemeClr val="tx1"/>
                </a:solidFill>
                <a:latin typeface="Consolas" pitchFamily="49" charset="0"/>
                <a:cs typeface="Consolas" pitchFamily="49" charset="0"/>
              </a:rPr>
              <a:t> in </a:t>
            </a:r>
            <a:r>
              <a:rPr lang="en-US" sz="2000" dirty="0" err="1">
                <a:solidFill>
                  <a:schemeClr val="tx1"/>
                </a:solidFill>
                <a:latin typeface="Consolas" pitchFamily="49" charset="0"/>
                <a:cs typeface="Consolas" pitchFamily="49" charset="0"/>
              </a:rPr>
              <a:t>FontFile.woff</a:t>
            </a:r>
            <a:endParaRPr lang="en-US" sz="2000" dirty="0">
              <a:solidFill>
                <a:schemeClr val="tx1"/>
              </a:solidFill>
              <a:latin typeface="Consolas" pitchFamily="49" charset="0"/>
              <a:cs typeface="Consolas" pitchFamily="49" charset="0"/>
            </a:endParaRPr>
          </a:p>
          <a:p>
            <a:r>
              <a:rPr lang="en-US" sz="2000" dirty="0">
                <a:solidFill>
                  <a:schemeClr val="tx1"/>
                </a:solidFill>
                <a:latin typeface="Consolas" pitchFamily="49" charset="0"/>
                <a:cs typeface="Consolas" pitchFamily="49" charset="0"/>
              </a:rPr>
              <a:t>&lt;/div&gt;</a:t>
            </a:r>
          </a:p>
        </p:txBody>
      </p:sp>
    </p:spTree>
    <p:extLst>
      <p:ext uri="{BB962C8B-B14F-4D97-AF65-F5344CB8AC3E}">
        <p14:creationId xmlns:p14="http://schemas.microsoft.com/office/powerpoint/2010/main" val="369704699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19112" y="1447799"/>
            <a:ext cx="11149013" cy="1228028"/>
          </a:xfrm>
        </p:spPr>
        <p:txBody>
          <a:bodyPr/>
          <a:lstStyle/>
          <a:p>
            <a:pPr marL="460375" indent="-457200">
              <a:buFont typeface="Arial" pitchFamily="34" charset="0"/>
              <a:buChar char="•"/>
            </a:pPr>
            <a:r>
              <a:rPr lang="en-US" sz="2400" dirty="0"/>
              <a:t>Alpha color with </a:t>
            </a:r>
            <a:r>
              <a:rPr lang="en-US" sz="2400" dirty="0" err="1"/>
              <a:t>rgba</a:t>
            </a:r>
            <a:r>
              <a:rPr lang="en-US" sz="2400" dirty="0"/>
              <a:t>() and </a:t>
            </a:r>
            <a:r>
              <a:rPr lang="en-US" sz="2400" dirty="0" err="1"/>
              <a:t>hsla</a:t>
            </a:r>
            <a:r>
              <a:rPr lang="en-US" sz="2400" dirty="0"/>
              <a:t>() color functions</a:t>
            </a:r>
          </a:p>
          <a:p>
            <a:pPr marL="460375" indent="-457200">
              <a:buFont typeface="Arial" pitchFamily="34" charset="0"/>
              <a:buChar char="•"/>
            </a:pPr>
            <a:r>
              <a:rPr lang="en-US" sz="2400" dirty="0"/>
              <a:t>Transparency control with the opacity property</a:t>
            </a:r>
          </a:p>
          <a:p>
            <a:pPr marL="460375" indent="-457200">
              <a:buFont typeface="Arial" pitchFamily="34" charset="0"/>
              <a:buChar char="•"/>
            </a:pPr>
            <a:r>
              <a:rPr lang="en-US" sz="2400" dirty="0"/>
              <a:t>Can be used with any property that takes the color property</a:t>
            </a:r>
          </a:p>
        </p:txBody>
      </p:sp>
      <p:sp>
        <p:nvSpPr>
          <p:cNvPr id="5" name="Rounded Rectangle 4"/>
          <p:cNvSpPr/>
          <p:nvPr/>
        </p:nvSpPr>
        <p:spPr bwMode="auto">
          <a:xfrm>
            <a:off x="605641" y="3123209"/>
            <a:ext cx="10224654" cy="2933203"/>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tx1"/>
                </a:solidFill>
                <a:latin typeface="Consolas" pitchFamily="49" charset="0"/>
                <a:cs typeface="Consolas" pitchFamily="49" charset="0"/>
              </a:rPr>
              <a:t>div.top</a:t>
            </a:r>
            <a:r>
              <a:rPr lang="en-US" sz="2000" dirty="0">
                <a:solidFill>
                  <a:schemeClr val="tx1"/>
                </a:solidFill>
                <a:latin typeface="Consolas" pitchFamily="49" charset="0"/>
                <a:cs typeface="Consolas" pitchFamily="49" charset="0"/>
              </a:rPr>
              <a:t> {</a:t>
            </a:r>
          </a:p>
          <a:p>
            <a:r>
              <a:rPr lang="en-US" sz="2000" dirty="0">
                <a:solidFill>
                  <a:schemeClr val="tx1"/>
                </a:solidFill>
                <a:latin typeface="Consolas" pitchFamily="49" charset="0"/>
                <a:cs typeface="Consolas" pitchFamily="49" charset="0"/>
              </a:rPr>
              <a:t> background-color: </a:t>
            </a:r>
            <a:r>
              <a:rPr lang="en-US" sz="2000" dirty="0" err="1">
                <a:solidFill>
                  <a:schemeClr val="tx1"/>
                </a:solidFill>
                <a:latin typeface="Consolas" pitchFamily="49" charset="0"/>
                <a:cs typeface="Consolas" pitchFamily="49" charset="0"/>
              </a:rPr>
              <a:t>rgba</a:t>
            </a:r>
            <a:r>
              <a:rPr lang="en-US" sz="2000" dirty="0">
                <a:solidFill>
                  <a:schemeClr val="tx1"/>
                </a:solidFill>
                <a:latin typeface="Consolas" pitchFamily="49" charset="0"/>
                <a:cs typeface="Consolas" pitchFamily="49" charset="0"/>
              </a:rPr>
              <a:t>(0, 0, 0, 0.5);</a:t>
            </a:r>
          </a:p>
          <a:p>
            <a:r>
              <a:rPr lang="en-US" sz="2000" dirty="0">
                <a:solidFill>
                  <a:schemeClr val="tx1"/>
                </a:solidFill>
                <a:latin typeface="Consolas" pitchFamily="49" charset="0"/>
                <a:cs typeface="Consolas" pitchFamily="49" charset="0"/>
              </a:rPr>
              <a:t> color: azure;</a:t>
            </a:r>
          </a:p>
          <a:p>
            <a:r>
              <a:rPr lang="en-US" sz="2000" dirty="0">
                <a:solidFill>
                  <a:schemeClr val="tx1"/>
                </a:solidFill>
                <a:latin typeface="Consolas" pitchFamily="49" charset="0"/>
                <a:cs typeface="Consolas" pitchFamily="49" charset="0"/>
              </a:rPr>
              <a:t>}</a:t>
            </a:r>
          </a:p>
          <a:p>
            <a:r>
              <a:rPr lang="en-US" sz="2000" dirty="0" err="1">
                <a:solidFill>
                  <a:schemeClr val="tx1"/>
                </a:solidFill>
                <a:latin typeface="Consolas" pitchFamily="49" charset="0"/>
                <a:cs typeface="Consolas" pitchFamily="49" charset="0"/>
              </a:rPr>
              <a:t>div.bottom</a:t>
            </a:r>
            <a:r>
              <a:rPr lang="en-US" sz="2000" dirty="0">
                <a:solidFill>
                  <a:schemeClr val="tx1"/>
                </a:solidFill>
                <a:latin typeface="Consolas" pitchFamily="49" charset="0"/>
                <a:cs typeface="Consolas" pitchFamily="49" charset="0"/>
              </a:rPr>
              <a:t> {</a:t>
            </a:r>
          </a:p>
          <a:p>
            <a:r>
              <a:rPr lang="en-US" sz="2000" dirty="0">
                <a:solidFill>
                  <a:schemeClr val="tx1"/>
                </a:solidFill>
                <a:latin typeface="Consolas" pitchFamily="49" charset="0"/>
                <a:cs typeface="Consolas" pitchFamily="49" charset="0"/>
              </a:rPr>
              <a:t>  background-color: </a:t>
            </a:r>
            <a:r>
              <a:rPr lang="en-US" sz="2000" dirty="0" err="1">
                <a:solidFill>
                  <a:schemeClr val="tx1"/>
                </a:solidFill>
                <a:latin typeface="Consolas" pitchFamily="49" charset="0"/>
                <a:cs typeface="Consolas" pitchFamily="49" charset="0"/>
              </a:rPr>
              <a:t>hlsa</a:t>
            </a:r>
            <a:r>
              <a:rPr lang="en-US" sz="2000" dirty="0">
                <a:solidFill>
                  <a:schemeClr val="tx1"/>
                </a:solidFill>
                <a:latin typeface="Consolas" pitchFamily="49" charset="0"/>
                <a:cs typeface="Consolas" pitchFamily="49" charset="0"/>
              </a:rPr>
              <a:t>(0, 0%, 0%, 0.5);</a:t>
            </a:r>
          </a:p>
          <a:p>
            <a:r>
              <a:rPr lang="en-US" sz="2000" dirty="0">
                <a:solidFill>
                  <a:schemeClr val="tx1"/>
                </a:solidFill>
                <a:latin typeface="Consolas" pitchFamily="49" charset="0"/>
                <a:cs typeface="Consolas" pitchFamily="49" charset="0"/>
              </a:rPr>
              <a:t>  color: </a:t>
            </a:r>
            <a:r>
              <a:rPr lang="en-US" sz="2000" dirty="0" err="1">
                <a:solidFill>
                  <a:schemeClr val="tx1"/>
                </a:solidFill>
                <a:latin typeface="Consolas" pitchFamily="49" charset="0"/>
                <a:cs typeface="Consolas" pitchFamily="49" charset="0"/>
              </a:rPr>
              <a:t>cornsilk</a:t>
            </a:r>
            <a:r>
              <a:rPr lang="en-US" sz="2000" dirty="0">
                <a:solidFill>
                  <a:schemeClr val="tx1"/>
                </a:solidFill>
                <a:latin typeface="Consolas" pitchFamily="49" charset="0"/>
                <a:cs typeface="Consolas" pitchFamily="49" charset="0"/>
              </a:rPr>
              <a:t>;</a:t>
            </a:r>
          </a:p>
          <a:p>
            <a:r>
              <a:rPr lang="en-US" sz="2000" dirty="0">
                <a:solidFill>
                  <a:schemeClr val="tx1"/>
                </a:solidFill>
                <a:latin typeface="Consolas" pitchFamily="49" charset="0"/>
                <a:cs typeface="Consolas" pitchFamily="49" charset="0"/>
              </a:rPr>
              <a:t>}</a:t>
            </a:r>
          </a:p>
        </p:txBody>
      </p:sp>
    </p:spTree>
    <p:extLst>
      <p:ext uri="{BB962C8B-B14F-4D97-AF65-F5344CB8AC3E}">
        <p14:creationId xmlns:p14="http://schemas.microsoft.com/office/powerpoint/2010/main" val="103738548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Backgrounds &amp; Borders</a:t>
            </a:r>
          </a:p>
        </p:txBody>
      </p:sp>
      <p:sp>
        <p:nvSpPr>
          <p:cNvPr id="18" name="Text Placeholder 17"/>
          <p:cNvSpPr>
            <a:spLocks noGrp="1"/>
          </p:cNvSpPr>
          <p:nvPr>
            <p:ph type="body" sz="quarter" idx="10"/>
          </p:nvPr>
        </p:nvSpPr>
        <p:spPr>
          <a:xfrm>
            <a:off x="519112" y="1447799"/>
            <a:ext cx="11149013" cy="1228028"/>
          </a:xfrm>
        </p:spPr>
        <p:txBody>
          <a:bodyPr/>
          <a:lstStyle/>
          <a:p>
            <a:pPr marL="460375" indent="-457200">
              <a:buFont typeface="Arial" pitchFamily="34" charset="0"/>
              <a:buChar char="•"/>
            </a:pPr>
            <a:r>
              <a:rPr lang="en-US" sz="2400" dirty="0"/>
              <a:t>Round corners with the border-radius property</a:t>
            </a:r>
          </a:p>
          <a:p>
            <a:pPr marL="460375" indent="-457200">
              <a:buFont typeface="Arial" pitchFamily="34" charset="0"/>
              <a:buChar char="•"/>
            </a:pPr>
            <a:r>
              <a:rPr lang="en-US" sz="2400" dirty="0"/>
              <a:t>Multiple background images per element</a:t>
            </a:r>
          </a:p>
          <a:p>
            <a:pPr marL="460375" indent="-457200">
              <a:buFont typeface="Arial" pitchFamily="34" charset="0"/>
              <a:buChar char="•"/>
            </a:pPr>
            <a:r>
              <a:rPr lang="en-US" sz="2400" dirty="0" smtClean="0"/>
              <a:t>Box-shadow </a:t>
            </a:r>
            <a:r>
              <a:rPr lang="en-US" sz="2400" dirty="0"/>
              <a:t>property on block elements</a:t>
            </a:r>
          </a:p>
        </p:txBody>
      </p:sp>
      <p:sp>
        <p:nvSpPr>
          <p:cNvPr id="5" name="Rounded Rectangle 4"/>
          <p:cNvSpPr/>
          <p:nvPr/>
        </p:nvSpPr>
        <p:spPr bwMode="auto">
          <a:xfrm>
            <a:off x="605641" y="3348841"/>
            <a:ext cx="6056416" cy="2707571"/>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div {</a:t>
            </a:r>
          </a:p>
          <a:p>
            <a:r>
              <a:rPr lang="en-US" sz="2000" dirty="0">
                <a:solidFill>
                  <a:schemeClr val="tx1"/>
                </a:solidFill>
                <a:latin typeface="Consolas" pitchFamily="49" charset="0"/>
                <a:cs typeface="Consolas" pitchFamily="49" charset="0"/>
              </a:rPr>
              <a:t> border-radius: 152px 304px 228px 152px;</a:t>
            </a:r>
          </a:p>
          <a:p>
            <a:r>
              <a:rPr lang="en-US" sz="2000" dirty="0">
                <a:solidFill>
                  <a:schemeClr val="tx1"/>
                </a:solidFill>
                <a:latin typeface="Consolas" pitchFamily="49" charset="0"/>
                <a:cs typeface="Consolas" pitchFamily="49" charset="0"/>
              </a:rPr>
              <a:t> border-style: double;</a:t>
            </a:r>
          </a:p>
          <a:p>
            <a:r>
              <a:rPr lang="en-US" sz="2000" dirty="0">
                <a:solidFill>
                  <a:schemeClr val="tx1"/>
                </a:solidFill>
                <a:latin typeface="Consolas" pitchFamily="49" charset="0"/>
                <a:cs typeface="Consolas" pitchFamily="49" charset="0"/>
              </a:rPr>
              <a:t> border-width: 42px;</a:t>
            </a:r>
          </a:p>
          <a:p>
            <a:r>
              <a:rPr lang="en-US" sz="2000" dirty="0">
                <a:solidFill>
                  <a:schemeClr val="tx1"/>
                </a:solidFill>
                <a:latin typeface="Consolas" pitchFamily="49" charset="0"/>
                <a:cs typeface="Consolas" pitchFamily="49" charset="0"/>
              </a:rPr>
              <a:t> padding: 12px;</a:t>
            </a:r>
          </a:p>
          <a:p>
            <a:r>
              <a:rPr lang="en-US" sz="2000" dirty="0">
                <a:solidFill>
                  <a:schemeClr val="tx1"/>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7014901" y="3348841"/>
            <a:ext cx="4263137" cy="2565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862134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SS3 Transform</a:t>
            </a:r>
            <a:endParaRPr lang="en-US" dirty="0"/>
          </a:p>
        </p:txBody>
      </p:sp>
      <p:sp>
        <p:nvSpPr>
          <p:cNvPr id="18" name="Text Placeholder 17"/>
          <p:cNvSpPr>
            <a:spLocks noGrp="1"/>
          </p:cNvSpPr>
          <p:nvPr>
            <p:ph type="body" sz="quarter" idx="10"/>
          </p:nvPr>
        </p:nvSpPr>
        <p:spPr>
          <a:xfrm>
            <a:off x="519112" y="1309570"/>
            <a:ext cx="11149013" cy="780214"/>
          </a:xfrm>
        </p:spPr>
        <p:txBody>
          <a:bodyPr/>
          <a:lstStyle/>
          <a:p>
            <a:pPr marL="460375" indent="-457200">
              <a:buFont typeface="Arial" pitchFamily="34" charset="0"/>
              <a:buChar char="•"/>
            </a:pPr>
            <a:r>
              <a:rPr lang="en-US" sz="2400" dirty="0" smtClean="0"/>
              <a:t>Applies 2D or 3D effects to the target element</a:t>
            </a:r>
          </a:p>
          <a:p>
            <a:pPr marL="460375" indent="-457200">
              <a:buFont typeface="Arial" pitchFamily="34" charset="0"/>
              <a:buChar char="•"/>
            </a:pPr>
            <a:r>
              <a:rPr lang="en-US" sz="2400" dirty="0" smtClean="0"/>
              <a:t>No native support, better to use all alternatives simultaneously</a:t>
            </a:r>
          </a:p>
        </p:txBody>
      </p:sp>
      <p:sp>
        <p:nvSpPr>
          <p:cNvPr id="5" name="Rounded Rectangle 4"/>
          <p:cNvSpPr/>
          <p:nvPr/>
        </p:nvSpPr>
        <p:spPr bwMode="auto">
          <a:xfrm>
            <a:off x="605640" y="2254102"/>
            <a:ext cx="8782909" cy="3802310"/>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1800" dirty="0">
                <a:solidFill>
                  <a:schemeClr val="tx1"/>
                </a:solidFill>
                <a:latin typeface="Consolas" pitchFamily="49" charset="0"/>
                <a:cs typeface="Consolas" pitchFamily="49" charset="0"/>
              </a:rPr>
              <a:t>.box { width: 200px; height: 200px; background-color: #8dc703; }</a:t>
            </a:r>
          </a:p>
          <a:p>
            <a:r>
              <a:rPr lang="en-US" sz="1800" dirty="0">
                <a:solidFill>
                  <a:schemeClr val="tx1"/>
                </a:solidFill>
                <a:latin typeface="Consolas" pitchFamily="49" charset="0"/>
                <a:cs typeface="Consolas" pitchFamily="49" charset="0"/>
              </a:rPr>
              <a:t>.</a:t>
            </a:r>
            <a:r>
              <a:rPr lang="en-US" sz="1800" dirty="0" err="1">
                <a:solidFill>
                  <a:schemeClr val="tx1"/>
                </a:solidFill>
                <a:latin typeface="Consolas" pitchFamily="49" charset="0"/>
                <a:cs typeface="Consolas" pitchFamily="49" charset="0"/>
              </a:rPr>
              <a:t>box:hover</a:t>
            </a:r>
            <a:endParaRPr lang="en-US" sz="1800" dirty="0">
              <a:solidFill>
                <a:schemeClr val="tx1"/>
              </a:solidFill>
              <a:latin typeface="Consolas" pitchFamily="49" charset="0"/>
              <a:cs typeface="Consolas" pitchFamily="49" charset="0"/>
            </a:endParaRPr>
          </a:p>
          <a:p>
            <a:r>
              <a:rPr lang="en-US" sz="1800" dirty="0">
                <a:solidFill>
                  <a:schemeClr val="tx1"/>
                </a:solidFill>
                <a:latin typeface="Consolas" pitchFamily="49" charset="0"/>
                <a:cs typeface="Consolas" pitchFamily="49" charset="0"/>
              </a:rPr>
              <a:t>{</a:t>
            </a:r>
          </a:p>
          <a:p>
            <a:r>
              <a:rPr lang="en-US" sz="1800" dirty="0">
                <a:solidFill>
                  <a:schemeClr val="tx1"/>
                </a:solidFill>
                <a:latin typeface="Consolas" pitchFamily="49" charset="0"/>
                <a:cs typeface="Consolas" pitchFamily="49" charset="0"/>
              </a:rPr>
              <a:t>    </a:t>
            </a:r>
            <a:r>
              <a:rPr lang="en-US" sz="1800" dirty="0" err="1">
                <a:solidFill>
                  <a:schemeClr val="tx1"/>
                </a:solidFill>
                <a:latin typeface="Consolas" pitchFamily="49" charset="0"/>
                <a:cs typeface="Consolas" pitchFamily="49" charset="0"/>
              </a:rPr>
              <a:t>transform:rotate</a:t>
            </a:r>
            <a:r>
              <a:rPr lang="en-US" sz="1800" dirty="0">
                <a:solidFill>
                  <a:schemeClr val="tx1"/>
                </a:solidFill>
                <a:latin typeface="Consolas" pitchFamily="49" charset="0"/>
                <a:cs typeface="Consolas" pitchFamily="49" charset="0"/>
              </a:rPr>
              <a:t>(7deg</a:t>
            </a:r>
            <a:r>
              <a:rPr lang="en-US" sz="1800" dirty="0" smtClean="0">
                <a:solidFill>
                  <a:schemeClr val="tx1"/>
                </a:solidFill>
                <a:latin typeface="Consolas" pitchFamily="49" charset="0"/>
                <a:cs typeface="Consolas" pitchFamily="49" charset="0"/>
              </a:rPr>
              <a:t>);</a:t>
            </a:r>
          </a:p>
          <a:p>
            <a:r>
              <a:rPr lang="en-US" sz="1800" dirty="0" smtClean="0">
                <a:solidFill>
                  <a:schemeClr val="tx1"/>
                </a:solidFill>
                <a:latin typeface="Consolas" pitchFamily="49" charset="0"/>
                <a:cs typeface="Consolas" pitchFamily="49" charset="0"/>
              </a:rPr>
              <a:t>    </a:t>
            </a:r>
            <a:r>
              <a:rPr lang="en-US" sz="1800" dirty="0">
                <a:solidFill>
                  <a:schemeClr val="tx1"/>
                </a:solidFill>
                <a:latin typeface="Consolas" pitchFamily="49" charset="0"/>
                <a:cs typeface="Consolas" pitchFamily="49" charset="0"/>
              </a:rPr>
              <a:t>/* IE 9 */</a:t>
            </a:r>
          </a:p>
          <a:p>
            <a:r>
              <a:rPr lang="en-US" sz="1800" dirty="0">
                <a:solidFill>
                  <a:schemeClr val="tx1"/>
                </a:solidFill>
                <a:latin typeface="Consolas" pitchFamily="49" charset="0"/>
                <a:cs typeface="Consolas" pitchFamily="49" charset="0"/>
              </a:rPr>
              <a:t>    -</a:t>
            </a:r>
            <a:r>
              <a:rPr lang="en-US" sz="1800" dirty="0" err="1">
                <a:solidFill>
                  <a:schemeClr val="tx1"/>
                </a:solidFill>
                <a:latin typeface="Consolas" pitchFamily="49" charset="0"/>
                <a:cs typeface="Consolas" pitchFamily="49" charset="0"/>
              </a:rPr>
              <a:t>ms-transform:rotate</a:t>
            </a:r>
            <a:r>
              <a:rPr lang="en-US" sz="1800" dirty="0">
                <a:solidFill>
                  <a:schemeClr val="tx1"/>
                </a:solidFill>
                <a:latin typeface="Consolas" pitchFamily="49" charset="0"/>
                <a:cs typeface="Consolas" pitchFamily="49" charset="0"/>
              </a:rPr>
              <a:t>(7deg</a:t>
            </a:r>
            <a:r>
              <a:rPr lang="en-US" sz="1800" dirty="0" smtClean="0">
                <a:solidFill>
                  <a:schemeClr val="tx1"/>
                </a:solidFill>
                <a:latin typeface="Consolas" pitchFamily="49" charset="0"/>
                <a:cs typeface="Consolas" pitchFamily="49" charset="0"/>
              </a:rPr>
              <a:t>);</a:t>
            </a:r>
            <a:endParaRPr lang="en-US" sz="1800" dirty="0">
              <a:solidFill>
                <a:schemeClr val="tx1"/>
              </a:solidFill>
              <a:latin typeface="Consolas" pitchFamily="49" charset="0"/>
              <a:cs typeface="Consolas" pitchFamily="49" charset="0"/>
            </a:endParaRPr>
          </a:p>
          <a:p>
            <a:r>
              <a:rPr lang="en-US" sz="1800" dirty="0">
                <a:solidFill>
                  <a:schemeClr val="tx1"/>
                </a:solidFill>
                <a:latin typeface="Consolas" pitchFamily="49" charset="0"/>
                <a:cs typeface="Consolas" pitchFamily="49" charset="0"/>
              </a:rPr>
              <a:t> </a:t>
            </a:r>
            <a:r>
              <a:rPr lang="en-US" sz="1800" dirty="0" smtClean="0">
                <a:solidFill>
                  <a:schemeClr val="tx1"/>
                </a:solidFill>
                <a:latin typeface="Consolas" pitchFamily="49" charset="0"/>
                <a:cs typeface="Consolas" pitchFamily="49" charset="0"/>
              </a:rPr>
              <a:t>   /* </a:t>
            </a:r>
            <a:r>
              <a:rPr lang="en-US" sz="1800" dirty="0">
                <a:solidFill>
                  <a:schemeClr val="tx1"/>
                </a:solidFill>
                <a:latin typeface="Consolas" pitchFamily="49" charset="0"/>
                <a:cs typeface="Consolas" pitchFamily="49" charset="0"/>
              </a:rPr>
              <a:t>Firefox */ </a:t>
            </a:r>
            <a:endParaRPr lang="en-US" sz="1800" dirty="0" smtClean="0">
              <a:solidFill>
                <a:schemeClr val="tx1"/>
              </a:solidFill>
              <a:latin typeface="Consolas" pitchFamily="49" charset="0"/>
              <a:cs typeface="Consolas" pitchFamily="49" charset="0"/>
            </a:endParaRPr>
          </a:p>
          <a:p>
            <a:r>
              <a:rPr lang="en-US" sz="1800" dirty="0">
                <a:solidFill>
                  <a:schemeClr val="tx1"/>
                </a:solidFill>
                <a:latin typeface="Consolas" pitchFamily="49" charset="0"/>
                <a:cs typeface="Consolas" pitchFamily="49" charset="0"/>
              </a:rPr>
              <a:t> </a:t>
            </a:r>
            <a:r>
              <a:rPr lang="en-US" sz="1800" dirty="0" smtClean="0">
                <a:solidFill>
                  <a:schemeClr val="tx1"/>
                </a:solidFill>
                <a:latin typeface="Consolas" pitchFamily="49" charset="0"/>
                <a:cs typeface="Consolas" pitchFamily="49" charset="0"/>
              </a:rPr>
              <a:t>   -</a:t>
            </a:r>
            <a:r>
              <a:rPr lang="en-US" sz="1800" dirty="0" err="1">
                <a:solidFill>
                  <a:schemeClr val="tx1"/>
                </a:solidFill>
                <a:latin typeface="Consolas" pitchFamily="49" charset="0"/>
                <a:cs typeface="Consolas" pitchFamily="49" charset="0"/>
              </a:rPr>
              <a:t>moz-transform:rotate</a:t>
            </a:r>
            <a:r>
              <a:rPr lang="en-US" sz="1800" dirty="0">
                <a:solidFill>
                  <a:schemeClr val="tx1"/>
                </a:solidFill>
                <a:latin typeface="Consolas" pitchFamily="49" charset="0"/>
                <a:cs typeface="Consolas" pitchFamily="49" charset="0"/>
              </a:rPr>
              <a:t>(7deg</a:t>
            </a:r>
            <a:r>
              <a:rPr lang="en-US" sz="1800" dirty="0" smtClean="0">
                <a:solidFill>
                  <a:schemeClr val="tx1"/>
                </a:solidFill>
                <a:latin typeface="Consolas" pitchFamily="49" charset="0"/>
                <a:cs typeface="Consolas" pitchFamily="49" charset="0"/>
              </a:rPr>
              <a:t>);</a:t>
            </a:r>
            <a:endParaRPr lang="en-US" sz="1800" dirty="0">
              <a:solidFill>
                <a:schemeClr val="tx1"/>
              </a:solidFill>
              <a:latin typeface="Consolas" pitchFamily="49" charset="0"/>
              <a:cs typeface="Consolas" pitchFamily="49" charset="0"/>
            </a:endParaRPr>
          </a:p>
          <a:p>
            <a:r>
              <a:rPr lang="en-US" sz="1800" dirty="0" smtClean="0">
                <a:solidFill>
                  <a:schemeClr val="tx1"/>
                </a:solidFill>
                <a:latin typeface="Consolas" pitchFamily="49" charset="0"/>
                <a:cs typeface="Consolas" pitchFamily="49" charset="0"/>
              </a:rPr>
              <a:t>    /* </a:t>
            </a:r>
            <a:r>
              <a:rPr lang="en-US" sz="1800" dirty="0">
                <a:solidFill>
                  <a:schemeClr val="tx1"/>
                </a:solidFill>
                <a:latin typeface="Consolas" pitchFamily="49" charset="0"/>
                <a:cs typeface="Consolas" pitchFamily="49" charset="0"/>
              </a:rPr>
              <a:t>Safari and Chrome </a:t>
            </a:r>
            <a:r>
              <a:rPr lang="en-US" sz="1800" dirty="0" smtClean="0">
                <a:solidFill>
                  <a:schemeClr val="tx1"/>
                </a:solidFill>
                <a:latin typeface="Consolas" pitchFamily="49" charset="0"/>
                <a:cs typeface="Consolas" pitchFamily="49" charset="0"/>
              </a:rPr>
              <a:t>*/    </a:t>
            </a:r>
          </a:p>
          <a:p>
            <a:r>
              <a:rPr lang="en-US" sz="1800" dirty="0" smtClean="0">
                <a:solidFill>
                  <a:schemeClr val="tx1"/>
                </a:solidFill>
                <a:latin typeface="Consolas" pitchFamily="49" charset="0"/>
                <a:cs typeface="Consolas" pitchFamily="49" charset="0"/>
              </a:rPr>
              <a:t>    -</a:t>
            </a:r>
            <a:r>
              <a:rPr lang="en-US" sz="1800" dirty="0" err="1">
                <a:solidFill>
                  <a:schemeClr val="tx1"/>
                </a:solidFill>
                <a:latin typeface="Consolas" pitchFamily="49" charset="0"/>
                <a:cs typeface="Consolas" pitchFamily="49" charset="0"/>
              </a:rPr>
              <a:t>webkit-transform:rotate</a:t>
            </a:r>
            <a:r>
              <a:rPr lang="en-US" sz="1800" dirty="0">
                <a:solidFill>
                  <a:schemeClr val="tx1"/>
                </a:solidFill>
                <a:latin typeface="Consolas" pitchFamily="49" charset="0"/>
                <a:cs typeface="Consolas" pitchFamily="49" charset="0"/>
              </a:rPr>
              <a:t>(7deg); </a:t>
            </a:r>
            <a:endParaRPr lang="en-US" sz="1800" dirty="0" smtClean="0">
              <a:solidFill>
                <a:schemeClr val="tx1"/>
              </a:solidFill>
              <a:latin typeface="Consolas" pitchFamily="49" charset="0"/>
              <a:cs typeface="Consolas" pitchFamily="49" charset="0"/>
            </a:endParaRPr>
          </a:p>
          <a:p>
            <a:r>
              <a:rPr lang="en-US" sz="1800" dirty="0" smtClean="0">
                <a:solidFill>
                  <a:schemeClr val="tx1"/>
                </a:solidFill>
                <a:latin typeface="Consolas" pitchFamily="49" charset="0"/>
                <a:cs typeface="Consolas" pitchFamily="49" charset="0"/>
              </a:rPr>
              <a:t>     </a:t>
            </a:r>
            <a:r>
              <a:rPr lang="en-US" sz="1800" dirty="0">
                <a:solidFill>
                  <a:schemeClr val="tx1"/>
                </a:solidFill>
                <a:latin typeface="Consolas" pitchFamily="49" charset="0"/>
                <a:cs typeface="Consolas" pitchFamily="49" charset="0"/>
              </a:rPr>
              <a:t>/* Opera </a:t>
            </a:r>
            <a:r>
              <a:rPr lang="en-US" sz="1800" dirty="0" smtClean="0">
                <a:solidFill>
                  <a:schemeClr val="tx1"/>
                </a:solidFill>
                <a:latin typeface="Consolas" pitchFamily="49" charset="0"/>
                <a:cs typeface="Consolas" pitchFamily="49" charset="0"/>
              </a:rPr>
              <a:t>*/</a:t>
            </a:r>
          </a:p>
          <a:p>
            <a:r>
              <a:rPr lang="en-US" sz="1800" dirty="0" smtClean="0">
                <a:solidFill>
                  <a:schemeClr val="tx1"/>
                </a:solidFill>
                <a:latin typeface="Consolas" pitchFamily="49" charset="0"/>
                <a:cs typeface="Consolas" pitchFamily="49" charset="0"/>
              </a:rPr>
              <a:t>    -</a:t>
            </a:r>
            <a:r>
              <a:rPr lang="en-US" sz="1800" dirty="0" err="1">
                <a:solidFill>
                  <a:schemeClr val="tx1"/>
                </a:solidFill>
                <a:latin typeface="Consolas" pitchFamily="49" charset="0"/>
                <a:cs typeface="Consolas" pitchFamily="49" charset="0"/>
              </a:rPr>
              <a:t>o-transform:rotate</a:t>
            </a:r>
            <a:r>
              <a:rPr lang="en-US" sz="1800" dirty="0">
                <a:solidFill>
                  <a:schemeClr val="tx1"/>
                </a:solidFill>
                <a:latin typeface="Consolas" pitchFamily="49" charset="0"/>
                <a:cs typeface="Consolas" pitchFamily="49" charset="0"/>
              </a:rPr>
              <a:t>(7deg</a:t>
            </a:r>
            <a:r>
              <a:rPr lang="en-US" sz="1800" dirty="0" smtClean="0">
                <a:solidFill>
                  <a:schemeClr val="tx1"/>
                </a:solidFill>
                <a:latin typeface="Consolas" pitchFamily="49" charset="0"/>
                <a:cs typeface="Consolas" pitchFamily="49" charset="0"/>
              </a:rPr>
              <a:t>);</a:t>
            </a:r>
            <a:endParaRPr lang="en-US" sz="1800" dirty="0">
              <a:solidFill>
                <a:schemeClr val="tx1"/>
              </a:solidFill>
              <a:latin typeface="Consolas" pitchFamily="49" charset="0"/>
              <a:cs typeface="Consolas" pitchFamily="49" charset="0"/>
            </a:endParaRPr>
          </a:p>
          <a:p>
            <a:r>
              <a:rPr lang="en-US" sz="1800" dirty="0">
                <a:solidFill>
                  <a:schemeClr val="tx1"/>
                </a:solidFill>
                <a:latin typeface="Consolas" pitchFamily="49" charset="0"/>
                <a:cs typeface="Consolas" pitchFamily="49" charset="0"/>
              </a:rPr>
              <a:t>}</a:t>
            </a:r>
          </a:p>
        </p:txBody>
      </p:sp>
      <p:pic>
        <p:nvPicPr>
          <p:cNvPr id="7066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0457" y="3217075"/>
            <a:ext cx="4505325" cy="310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66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0456" y="3217075"/>
            <a:ext cx="4505325" cy="310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35796927"/>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70661"/>
                    </p:tgtEl>
                  </p:cond>
                </p:stCondLst>
                <p:endSync evt="end" delay="0">
                  <p:rtn val="all"/>
                </p:endSync>
                <p:childTnLst>
                  <p:par>
                    <p:cTn id="3" fill="hold">
                      <p:stCondLst>
                        <p:cond delay="0"/>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662"/>
                                        </p:tgtEl>
                                        <p:attrNameLst>
                                          <p:attrName>style.visibility</p:attrName>
                                        </p:attrNameLst>
                                      </p:cBhvr>
                                      <p:to>
                                        <p:strVal val="visible"/>
                                      </p:to>
                                    </p:set>
                                  </p:childTnLst>
                                </p:cTn>
                              </p:par>
                            </p:childTnLst>
                          </p:cTn>
                        </p:par>
                      </p:childTnLst>
                    </p:cTn>
                  </p:par>
                </p:childTnLst>
              </p:cTn>
              <p:nextCondLst>
                <p:cond evt="onClick" delay="0">
                  <p:tgtEl>
                    <p:spTgt spid="70661"/>
                  </p:tgtEl>
                </p:cond>
              </p:nextCondLst>
            </p:seq>
            <p:seq concurrent="1" nextAc="seek">
              <p:cTn id="7" restart="whenNotActive" fill="hold" evtFilter="cancelBubble" nodeType="interactiveSeq">
                <p:stCondLst>
                  <p:cond evt="onClick" delay="0">
                    <p:tgtEl>
                      <p:spTgt spid="70662"/>
                    </p:tgtEl>
                  </p:cond>
                </p:stCondLst>
                <p:endSync evt="end" delay="0">
                  <p:rtn val="all"/>
                </p:endSync>
                <p:childTnLst>
                  <p:par>
                    <p:cTn id="8" fill="hold">
                      <p:stCondLst>
                        <p:cond delay="0"/>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70662"/>
                                        </p:tgtEl>
                                        <p:attrNameLst>
                                          <p:attrName>style.visibility</p:attrName>
                                        </p:attrNameLst>
                                      </p:cBhvr>
                                      <p:to>
                                        <p:strVal val="hidden"/>
                                      </p:to>
                                    </p:set>
                                  </p:childTnLst>
                                </p:cTn>
                              </p:par>
                            </p:childTnLst>
                          </p:cTn>
                        </p:par>
                      </p:childTnLst>
                    </p:cTn>
                  </p:par>
                </p:childTnLst>
              </p:cTn>
              <p:nextCondLst>
                <p:cond evt="onClick" delay="0">
                  <p:tgtEl>
                    <p:spTgt spid="70662"/>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57973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CSS3 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74984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3463013"/>
            <a:ext cx="5116375" cy="1107996"/>
          </a:xfrm>
        </p:spPr>
        <p:txBody>
          <a:bodyPr/>
          <a:lstStyle/>
          <a:p>
            <a:r>
              <a:rPr lang="en-US" dirty="0" smtClean="0"/>
              <a:t>It isn’t a marketing message</a:t>
            </a:r>
            <a:endParaRPr lang="en-US" dirty="0"/>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30073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4672048"/>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W3C HTML5 Working Group</a:t>
            </a:r>
            <a:r>
              <a:rPr lang="en-US" dirty="0" smtClean="0"/>
              <a:t/>
            </a:r>
            <a:br>
              <a:rPr lang="en-US" dirty="0" smtClean="0"/>
            </a:br>
            <a:r>
              <a:rPr lang="en-US" sz="3200" dirty="0">
                <a:latin typeface="+mn-lt"/>
                <a:hlinkClick r:id="rId8"/>
              </a:rPr>
              <a:t>http://</a:t>
            </a:r>
            <a:r>
              <a:rPr lang="en-US" sz="3200" dirty="0" smtClean="0">
                <a:latin typeface="+mn-lt"/>
                <a:hlinkClick r:id="rId8"/>
              </a:rPr>
              <a:t>www.w3.org/html/wg</a:t>
            </a:r>
            <a:endParaRPr lang="en-US" sz="3200" dirty="0" smtClean="0">
              <a:latin typeface="+mn-lt"/>
            </a:endParaRPr>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HTML5 Demo </a:t>
            </a:r>
            <a:r>
              <a:rPr lang="en-US" sz="4400" dirty="0" smtClean="0">
                <a:ln w="3175">
                  <a:noFill/>
                </a:ln>
                <a:gradFill flip="none" rotWithShape="1">
                  <a:gsLst>
                    <a:gs pos="0">
                      <a:srgbClr val="595959"/>
                    </a:gs>
                    <a:gs pos="86000">
                      <a:srgbClr val="595959"/>
                    </a:gs>
                  </a:gsLst>
                  <a:lin ang="5400000" scaled="0"/>
                  <a:tileRect/>
                </a:gradFill>
                <a:cs typeface="Arial" charset="0"/>
              </a:rPr>
              <a:t>Gallery</a:t>
            </a:r>
            <a:br>
              <a:rPr lang="en-US" sz="4400" dirty="0" smtClean="0">
                <a:ln w="3175">
                  <a:noFill/>
                </a:ln>
                <a:gradFill flip="none" rotWithShape="1">
                  <a:gsLst>
                    <a:gs pos="0">
                      <a:srgbClr val="595959"/>
                    </a:gs>
                    <a:gs pos="86000">
                      <a:srgbClr val="595959"/>
                    </a:gs>
                  </a:gsLst>
                  <a:lin ang="5400000" scaled="0"/>
                  <a:tileRect/>
                </a:gradFill>
                <a:cs typeface="Arial" charset="0"/>
              </a:rPr>
            </a:br>
            <a:r>
              <a:rPr lang="en-US" sz="3200" dirty="0">
                <a:hlinkClick r:id="rId9"/>
              </a:rPr>
              <a:t>http://</a:t>
            </a:r>
            <a:r>
              <a:rPr lang="en-US" sz="3200" dirty="0" smtClean="0">
                <a:hlinkClick r:id="rId9"/>
              </a:rPr>
              <a:t>www.beautyoftheweb.com</a:t>
            </a:r>
            <a:endParaRPr lang="en-US" sz="3200" dirty="0" smtClean="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E Blog</a:t>
            </a:r>
            <a:r>
              <a:rPr lang="en-US" sz="3200" dirty="0"/>
              <a:t/>
            </a:r>
            <a:br>
              <a:rPr lang="en-US" sz="3200" dirty="0"/>
            </a:br>
            <a:r>
              <a:rPr lang="en-US" sz="3200" dirty="0">
                <a:hlinkClick r:id="rId10"/>
              </a:rPr>
              <a:t>http://</a:t>
            </a:r>
            <a:r>
              <a:rPr lang="en-US" sz="3200" dirty="0" smtClean="0">
                <a:hlinkClick r:id="rId10"/>
              </a:rPr>
              <a:t>blogs.msdn.com/IE</a:t>
            </a:r>
            <a:endParaRPr lang="en-US" sz="3200" dirty="0" smtClean="0"/>
          </a:p>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E9 Test Drive</a:t>
            </a:r>
            <a:r>
              <a:rPr lang="en-US" sz="3200" dirty="0"/>
              <a:t/>
            </a:r>
            <a:br>
              <a:rPr lang="en-US" sz="3200" dirty="0"/>
            </a:br>
            <a:r>
              <a:rPr lang="en-US" sz="3200" dirty="0">
                <a:hlinkClick r:id="rId11"/>
              </a:rPr>
              <a:t>http://</a:t>
            </a:r>
            <a:r>
              <a:rPr lang="en-US" sz="3200" dirty="0" smtClean="0">
                <a:hlinkClick r:id="rId11"/>
              </a:rPr>
              <a:t>www.ietestdrive.com</a:t>
            </a:r>
            <a:endParaRPr lang="en-US" sz="3200" dirty="0" smtClean="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0802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err="1" smtClean="0"/>
              <a:t>jQuery</a:t>
            </a:r>
            <a:r>
              <a:rPr lang="en-US" dirty="0" smtClean="0"/>
              <a:t> Fundamentals</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o Uses </a:t>
            </a:r>
            <a:r>
              <a:rPr lang="en-US" dirty="0" err="1" smtClean="0"/>
              <a:t>jQuery</a:t>
            </a:r>
            <a:r>
              <a:rPr lang="en-US" dirty="0" smtClean="0"/>
              <a:t>?</a:t>
            </a:r>
            <a:endParaRPr lang="en-US" dirty="0"/>
          </a:p>
        </p:txBody>
      </p:sp>
      <p:sp>
        <p:nvSpPr>
          <p:cNvPr id="11" name="Content Placeholder 10"/>
          <p:cNvSpPr>
            <a:spLocks noGrp="1"/>
          </p:cNvSpPr>
          <p:nvPr>
            <p:ph type="body" sz="quarter" idx="10"/>
            <p:custDataLst>
              <p:tags r:id="rId4"/>
            </p:custDataLst>
          </p:nvPr>
        </p:nvSpPr>
        <p:spPr>
          <a:xfrm>
            <a:off x="519112" y="1447799"/>
            <a:ext cx="11149013" cy="1483483"/>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25,343,057 Web Sites</a:t>
            </a:r>
            <a:endParaRPr lang="en-US" dirty="0" smtClean="0">
              <a:gradFill>
                <a:gsLst>
                  <a:gs pos="0">
                    <a:schemeClr val="accent2"/>
                  </a:gs>
                  <a:gs pos="100000">
                    <a:schemeClr val="accent2"/>
                  </a:gs>
                </a:gsLst>
                <a:lin ang="5400000" scaled="0"/>
              </a:gradFill>
              <a:latin typeface="Segoe UI Light" pitchFamily="34" charset="0"/>
            </a:endParaRPr>
          </a:p>
          <a:p>
            <a:pPr>
              <a:spcAft>
                <a:spcPts val="1200"/>
              </a:spcAft>
            </a:pPr>
            <a:r>
              <a:rPr lang="en-US" dirty="0" smtClean="0"/>
              <a:t>1,778,334 of those sites rank in the </a:t>
            </a:r>
            <a:br>
              <a:rPr lang="en-US" dirty="0" smtClean="0"/>
            </a:br>
            <a:r>
              <a:rPr lang="en-US" dirty="0" smtClean="0"/>
              <a:t>top sites on the web</a:t>
            </a:r>
            <a:endParaRPr lang="en-US" dirty="0"/>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 name="TextBox 3"/>
          <p:cNvSpPr txBox="1"/>
          <p:nvPr/>
        </p:nvSpPr>
        <p:spPr>
          <a:xfrm>
            <a:off x="478466" y="5858263"/>
            <a:ext cx="594598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ource: </a:t>
            </a:r>
            <a:r>
              <a:rPr lang="en-US" sz="2000" dirty="0">
                <a:hlinkClick r:id="rId9"/>
              </a:rPr>
              <a:t>http://trends.builtwith.com/javascript/jQuery</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69333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err="1" smtClean="0"/>
              <a:t>jQuery</a:t>
            </a:r>
            <a:r>
              <a:rPr lang="en-US" dirty="0" smtClean="0"/>
              <a:t> Community</a:t>
            </a:r>
            <a:endParaRPr lang="en-US" dirty="0"/>
          </a:p>
        </p:txBody>
      </p:sp>
      <p:sp>
        <p:nvSpPr>
          <p:cNvPr id="3" name="Text Placeholder 2"/>
          <p:cNvSpPr>
            <a:spLocks noGrp="1"/>
          </p:cNvSpPr>
          <p:nvPr>
            <p:ph type="body" sz="quarter" idx="10"/>
            <p:custDataLst>
              <p:tags r:id="rId3"/>
            </p:custDataLst>
          </p:nvPr>
        </p:nvSpPr>
        <p:spPr>
          <a:xfrm>
            <a:off x="519112" y="1451336"/>
            <a:ext cx="3042795" cy="4271939"/>
          </a:xfrm>
        </p:spPr>
        <p:txBody>
          <a:bodyPr/>
          <a:lstStyle/>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Downloading</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latin typeface="+mn-lt"/>
                <a:hlinkClick r:id="rId9"/>
              </a:rPr>
              <a:t>http://code.jquery.com</a:t>
            </a:r>
            <a:endParaRPr lang="en-US" sz="2400" dirty="0" smtClean="0">
              <a:latin typeface="+mn-lt"/>
            </a:endParaRPr>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Documentation</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10"/>
              </a:rPr>
              <a:t>http</a:t>
            </a:r>
            <a:r>
              <a:rPr lang="en-US" sz="2400" dirty="0" smtClean="0">
                <a:hlinkClick r:id="rId10"/>
              </a:rPr>
              <a:t>://docs.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Community</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11"/>
              </a:rPr>
              <a:t>http</a:t>
            </a:r>
            <a:r>
              <a:rPr lang="en-US" sz="2400" dirty="0" smtClean="0">
                <a:hlinkClick r:id="rId11"/>
              </a:rPr>
              <a:t>://forum.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Extending</a:t>
            </a:r>
            <a:r>
              <a:rPr lang="en-US" sz="3600" dirty="0">
                <a:ln w="3175">
                  <a:noFill/>
                </a:ln>
                <a:gradFill flip="none" rotWithShape="1">
                  <a:gsLst>
                    <a:gs pos="0">
                      <a:srgbClr val="595959"/>
                    </a:gs>
                    <a:gs pos="86000">
                      <a:srgbClr val="595959"/>
                    </a:gs>
                  </a:gsLst>
                  <a:lin ang="5400000" scaled="0"/>
                  <a:tileRect/>
                </a:gradFill>
                <a:cs typeface="Arial" charset="0"/>
              </a:rPr>
              <a:t/>
            </a:r>
            <a:br>
              <a:rPr lang="en-US" sz="3600" dirty="0">
                <a:ln w="3175">
                  <a:noFill/>
                </a:ln>
                <a:gradFill flip="none" rotWithShape="1">
                  <a:gsLst>
                    <a:gs pos="0">
                      <a:srgbClr val="595959"/>
                    </a:gs>
                    <a:gs pos="86000">
                      <a:srgbClr val="595959"/>
                    </a:gs>
                  </a:gsLst>
                  <a:lin ang="5400000" scaled="0"/>
                  <a:tileRect/>
                </a:gradFill>
                <a:cs typeface="Arial" charset="0"/>
              </a:rPr>
            </a:br>
            <a:r>
              <a:rPr lang="en-US" sz="2400" dirty="0">
                <a:hlinkClick r:id="rId9"/>
              </a:rPr>
              <a:t>http</a:t>
            </a:r>
            <a:r>
              <a:rPr lang="en-US" sz="2400" dirty="0" smtClean="0">
                <a:hlinkClick r:id="rId9"/>
              </a:rPr>
              <a:t>://plugins.jquery.com</a:t>
            </a:r>
            <a:endParaRPr lang="en-US" sz="2400" dirty="0"/>
          </a:p>
          <a:p>
            <a:pPr>
              <a:spcAft>
                <a:spcPts val="1200"/>
              </a:spcAft>
            </a:pPr>
            <a:endParaRPr lang="en-US" sz="2400" dirty="0" smtClean="0"/>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6" name="Text Placeholder 2"/>
          <p:cNvSpPr txBox="1">
            <a:spLocks/>
          </p:cNvSpPr>
          <p:nvPr>
            <p:custDataLst>
              <p:tags r:id="rId4"/>
            </p:custDataLst>
          </p:nvPr>
        </p:nvSpPr>
        <p:spPr>
          <a:xfrm>
            <a:off x="3840008" y="1451336"/>
            <a:ext cx="3326330" cy="3773341"/>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API Docs</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latin typeface="+mn-lt"/>
                <a:hlinkClick r:id="rId13"/>
              </a:rPr>
              <a:t>http://api.jquery.com</a:t>
            </a:r>
            <a:endParaRPr lang="en-US" sz="2400" dirty="0" smtClean="0">
              <a:latin typeface="+mn-lt"/>
            </a:endParaRPr>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Local Community</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hlinkClick r:id="rId14"/>
              </a:rPr>
              <a:t>http://meetups.jquery.com</a:t>
            </a:r>
            <a:endParaRPr lang="en-US" sz="2400" dirty="0" smtClean="0"/>
          </a:p>
          <a:p>
            <a:pPr>
              <a:spcAft>
                <a:spcPts val="1200"/>
              </a:spcAft>
            </a:pPr>
            <a:r>
              <a:rPr lang="en-US" sz="3600" dirty="0" smtClean="0">
                <a:ln w="3175">
                  <a:noFill/>
                </a:ln>
                <a:gradFill flip="none" rotWithShape="1">
                  <a:gsLst>
                    <a:gs pos="0">
                      <a:srgbClr val="595959"/>
                    </a:gs>
                    <a:gs pos="86000">
                      <a:srgbClr val="595959"/>
                    </a:gs>
                  </a:gsLst>
                  <a:lin ang="5400000" scaled="0"/>
                  <a:tileRect/>
                </a:gradFill>
                <a:cs typeface="Arial" charset="0"/>
              </a:rPr>
              <a:t>Widgets &amp; Effects</a:t>
            </a:r>
            <a:br>
              <a:rPr lang="en-US" sz="3600" dirty="0" smtClean="0">
                <a:ln w="3175">
                  <a:noFill/>
                </a:ln>
                <a:gradFill flip="none" rotWithShape="1">
                  <a:gsLst>
                    <a:gs pos="0">
                      <a:srgbClr val="595959"/>
                    </a:gs>
                    <a:gs pos="86000">
                      <a:srgbClr val="595959"/>
                    </a:gs>
                  </a:gsLst>
                  <a:lin ang="5400000" scaled="0"/>
                  <a:tileRect/>
                </a:gradFill>
                <a:cs typeface="Arial" charset="0"/>
              </a:rPr>
            </a:br>
            <a:r>
              <a:rPr lang="en-US" sz="2400" dirty="0" smtClean="0">
                <a:hlinkClick r:id="rId15"/>
              </a:rPr>
              <a:t>http://jqueryui.com</a:t>
            </a:r>
            <a:endParaRPr lang="en-US" sz="2400" dirty="0" smtClean="0"/>
          </a:p>
          <a:p>
            <a:pPr>
              <a:spcAft>
                <a:spcPts val="1200"/>
              </a:spcAft>
            </a:pPr>
            <a:endParaRPr lang="en-US" sz="2400" dirty="0" smtClean="0"/>
          </a:p>
          <a:p>
            <a:pPr>
              <a:spcAft>
                <a:spcPts val="1200"/>
              </a:spcAft>
            </a:pPr>
            <a:endParaRPr lang="en-US" sz="2400" dirty="0" smtClean="0"/>
          </a:p>
        </p:txBody>
      </p:sp>
    </p:spTree>
    <p:extLst>
      <p:ext uri="{BB962C8B-B14F-4D97-AF65-F5344CB8AC3E}">
        <p14:creationId xmlns:p14="http://schemas.microsoft.com/office/powerpoint/2010/main" val="199662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191746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Adding </a:t>
            </a:r>
            <a:r>
              <a:rPr lang="en-US" dirty="0" err="1" smtClean="0"/>
              <a:t>jQuery</a:t>
            </a:r>
            <a:endParaRPr lang="en-US" dirty="0"/>
          </a:p>
        </p:txBody>
      </p:sp>
      <p:sp>
        <p:nvSpPr>
          <p:cNvPr id="7" name="Subtitle 6"/>
          <p:cNvSpPr>
            <a:spLocks noGrp="1"/>
          </p:cNvSpPr>
          <p:nvPr>
            <p:ph type="subTitle" idx="1"/>
          </p:nvPr>
        </p:nvSpPr>
        <p:spPr>
          <a:xfrm>
            <a:off x="1889124" y="5630472"/>
            <a:ext cx="5181527" cy="461665"/>
          </a:xfrm>
        </p:spPr>
        <p:txBody>
          <a:bodyPr/>
          <a:lstStyle/>
          <a:p>
            <a:r>
              <a:rPr lang="en-US" dirty="0" smtClean="0"/>
              <a:t>How to wire your site up with </a:t>
            </a:r>
            <a:r>
              <a:rPr lang="en-US" dirty="0" err="1" smtClean="0"/>
              <a:t>jQuery</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3192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smtClean="0"/>
              <a:t>jQuery</a:t>
            </a:r>
            <a:r>
              <a:rPr lang="en-US" dirty="0" smtClean="0"/>
              <a:t> Fundamentals</a:t>
            </a:r>
            <a:endParaRPr lang="en-US" dirty="0"/>
          </a:p>
        </p:txBody>
      </p:sp>
      <p:sp>
        <p:nvSpPr>
          <p:cNvPr id="18" name="Text Placeholder 17"/>
          <p:cNvSpPr>
            <a:spLocks noGrp="1"/>
          </p:cNvSpPr>
          <p:nvPr>
            <p:ph type="body" sz="quarter" idx="10"/>
          </p:nvPr>
        </p:nvSpPr>
        <p:spPr>
          <a:xfrm>
            <a:off x="519112" y="1447799"/>
            <a:ext cx="11149013" cy="780214"/>
          </a:xfrm>
        </p:spPr>
        <p:txBody>
          <a:bodyPr/>
          <a:lstStyle/>
          <a:p>
            <a:pPr marL="460375" indent="-457200">
              <a:buFont typeface="Arial" pitchFamily="34" charset="0"/>
              <a:buChar char="•"/>
            </a:pPr>
            <a:r>
              <a:rPr lang="en-US" sz="2400" dirty="0" smtClean="0"/>
              <a:t>Find something using a selector</a:t>
            </a:r>
          </a:p>
          <a:p>
            <a:pPr marL="460375" indent="-457200">
              <a:buFont typeface="Arial" pitchFamily="34" charset="0"/>
              <a:buChar char="•"/>
            </a:pPr>
            <a:r>
              <a:rPr lang="en-US" sz="2400" dirty="0" smtClean="0"/>
              <a:t>Do something to what’s been selected</a:t>
            </a:r>
            <a:endParaRPr lang="en-US" sz="2400" dirty="0"/>
          </a:p>
        </p:txBody>
      </p:sp>
      <p:sp>
        <p:nvSpPr>
          <p:cNvPr id="5" name="Rounded Rectangle 4"/>
          <p:cNvSpPr/>
          <p:nvPr/>
        </p:nvSpPr>
        <p:spPr bwMode="auto">
          <a:xfrm>
            <a:off x="605641" y="2517569"/>
            <a:ext cx="10224654" cy="3032626"/>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tx1"/>
                </a:solidFill>
                <a:latin typeface="Consolas" pitchFamily="49" charset="0"/>
                <a:cs typeface="Consolas" pitchFamily="49" charset="0"/>
              </a:rPr>
              <a:t>&lt;script&gt;</a:t>
            </a:r>
          </a:p>
          <a:p>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div’).hide();</a:t>
            </a:r>
            <a:endParaRPr lang="en-US" sz="2000" dirty="0">
              <a:solidFill>
                <a:schemeClr val="tx1"/>
              </a:solidFill>
              <a:latin typeface="Consolas" pitchFamily="49" charset="0"/>
              <a:cs typeface="Consolas" pitchFamily="49" charset="0"/>
            </a:endParaRPr>
          </a:p>
          <a:p>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script&gt;</a:t>
            </a:r>
          </a:p>
          <a:p>
            <a:endParaRPr lang="en-US" sz="2000" dirty="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div&gt;This will be hidden&lt;/div&gt;</a:t>
            </a:r>
          </a:p>
          <a:p>
            <a:r>
              <a:rPr lang="en-US" sz="2000" dirty="0">
                <a:solidFill>
                  <a:schemeClr val="tx1"/>
                </a:solidFill>
                <a:latin typeface="Consolas" pitchFamily="49" charset="0"/>
                <a:cs typeface="Consolas" pitchFamily="49" charset="0"/>
              </a:rPr>
              <a:t>&lt;</a:t>
            </a:r>
            <a:r>
              <a:rPr lang="en-US" sz="2000" dirty="0" smtClean="0">
                <a:solidFill>
                  <a:schemeClr val="tx1"/>
                </a:solidFill>
                <a:latin typeface="Consolas" pitchFamily="49" charset="0"/>
                <a:cs typeface="Consolas" pitchFamily="49" charset="0"/>
              </a:rPr>
              <a:t>div&gt;So will this&lt;/</a:t>
            </a:r>
            <a:r>
              <a:rPr lang="en-US" sz="2000" dirty="0">
                <a:solidFill>
                  <a:schemeClr val="tx1"/>
                </a:solidFill>
                <a:latin typeface="Consolas" pitchFamily="49" charset="0"/>
                <a:cs typeface="Consolas" pitchFamily="49" charset="0"/>
              </a:rPr>
              <a:t>div&gt;</a:t>
            </a:r>
          </a:p>
          <a:p>
            <a:r>
              <a:rPr lang="en-US" sz="2000" dirty="0">
                <a:solidFill>
                  <a:schemeClr val="tx1"/>
                </a:solidFill>
                <a:latin typeface="Consolas" pitchFamily="49" charset="0"/>
                <a:cs typeface="Consolas" pitchFamily="49" charset="0"/>
              </a:rPr>
              <a:t>&lt;</a:t>
            </a:r>
            <a:r>
              <a:rPr lang="en-US" sz="2000" dirty="0" smtClean="0">
                <a:solidFill>
                  <a:schemeClr val="tx1"/>
                </a:solidFill>
                <a:latin typeface="Consolas" pitchFamily="49" charset="0"/>
                <a:cs typeface="Consolas" pitchFamily="49" charset="0"/>
              </a:rPr>
              <a:t>div&gt;Even this&lt;/</a:t>
            </a:r>
            <a:r>
              <a:rPr lang="en-US" sz="2000" dirty="0">
                <a:solidFill>
                  <a:schemeClr val="tx1"/>
                </a:solidFill>
                <a:latin typeface="Consolas" pitchFamily="49" charset="0"/>
                <a:cs typeface="Consolas" pitchFamily="49" charset="0"/>
              </a:rPr>
              <a:t>div</a:t>
            </a:r>
            <a:r>
              <a:rPr lang="en-US" sz="2000" dirty="0" smtClean="0">
                <a:solidFill>
                  <a:schemeClr val="tx1"/>
                </a:solidFill>
                <a:latin typeface="Consolas" pitchFamily="49" charset="0"/>
                <a:cs typeface="Consolas" pitchFamily="49" charset="0"/>
              </a:rPr>
              <a:t>&gt;</a:t>
            </a:r>
            <a:endParaRPr lang="en-US" sz="2000" dirty="0">
              <a:solidFill>
                <a:schemeClr val="tx1"/>
              </a:solidFill>
              <a:latin typeface="Consolas" pitchFamily="49" charset="0"/>
              <a:cs typeface="Consolas" pitchFamily="49" charset="0"/>
            </a:endParaRPr>
          </a:p>
        </p:txBody>
      </p:sp>
    </p:spTree>
    <p:extLst>
      <p:ext uri="{BB962C8B-B14F-4D97-AF65-F5344CB8AC3E}">
        <p14:creationId xmlns:p14="http://schemas.microsoft.com/office/powerpoint/2010/main" val="352627586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Functional Syntax</a:t>
            </a:r>
            <a:endParaRPr lang="en-US" dirty="0"/>
          </a:p>
        </p:txBody>
      </p:sp>
      <p:sp>
        <p:nvSpPr>
          <p:cNvPr id="18" name="Text Placeholder 17"/>
          <p:cNvSpPr>
            <a:spLocks noGrp="1"/>
          </p:cNvSpPr>
          <p:nvPr>
            <p:ph type="body" sz="quarter" idx="10"/>
          </p:nvPr>
        </p:nvSpPr>
        <p:spPr>
          <a:xfrm>
            <a:off x="519112" y="1447799"/>
            <a:ext cx="11149013" cy="332399"/>
          </a:xfrm>
        </p:spPr>
        <p:txBody>
          <a:bodyPr/>
          <a:lstStyle/>
          <a:p>
            <a:pPr marL="460375" indent="-457200">
              <a:buFont typeface="Arial" pitchFamily="34" charset="0"/>
              <a:buChar char="•"/>
            </a:pPr>
            <a:r>
              <a:rPr lang="en-US" sz="2400" dirty="0" smtClean="0"/>
              <a:t>Introduces functional handling of </a:t>
            </a:r>
            <a:r>
              <a:rPr lang="en-US" sz="2400" dirty="0" smtClean="0"/>
              <a:t>browser or DOM </a:t>
            </a:r>
            <a:r>
              <a:rPr lang="en-US" sz="2400" dirty="0" smtClean="0"/>
              <a:t>events</a:t>
            </a:r>
            <a:endParaRPr lang="en-US" sz="2400" dirty="0"/>
          </a:p>
        </p:txBody>
      </p:sp>
      <p:sp>
        <p:nvSpPr>
          <p:cNvPr id="5" name="Rounded Rectangle 4"/>
          <p:cNvSpPr/>
          <p:nvPr/>
        </p:nvSpPr>
        <p:spPr bwMode="auto">
          <a:xfrm>
            <a:off x="605641" y="2094614"/>
            <a:ext cx="10224654" cy="4082901"/>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tx1"/>
                </a:solidFill>
                <a:latin typeface="Consolas" pitchFamily="49" charset="0"/>
                <a:cs typeface="Consolas" pitchFamily="49" charset="0"/>
              </a:rPr>
              <a:t>&lt;script&gt;</a:t>
            </a:r>
          </a:p>
          <a:p>
            <a:r>
              <a:rPr lang="en-US" sz="2000" dirty="0">
                <a:solidFill>
                  <a:schemeClr val="tx1"/>
                </a:solidFill>
                <a:latin typeface="Consolas" pitchFamily="49" charset="0"/>
                <a:cs typeface="Consolas" pitchFamily="49" charset="0"/>
              </a:rPr>
              <a:t>$(document).ready(function() {</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submitButton</a:t>
            </a:r>
            <a:r>
              <a:rPr lang="en-US" sz="2000" dirty="0">
                <a:solidFill>
                  <a:schemeClr val="tx1"/>
                </a:solidFill>
                <a:latin typeface="Consolas" pitchFamily="49" charset="0"/>
                <a:cs typeface="Consolas" pitchFamily="49" charset="0"/>
              </a:rPr>
              <a:t>').click( function(){</a:t>
            </a:r>
          </a:p>
          <a:p>
            <a:r>
              <a:rPr lang="en-US" sz="2000" dirty="0">
                <a:solidFill>
                  <a:schemeClr val="tx1"/>
                </a:solidFill>
                <a:latin typeface="Consolas" pitchFamily="49" charset="0"/>
                <a:cs typeface="Consolas" pitchFamily="49" charset="0"/>
              </a:rPr>
              <a:t>        alert('post form');</a:t>
            </a:r>
          </a:p>
          <a:p>
            <a:r>
              <a:rPr lang="en-US" sz="2000" dirty="0">
                <a:solidFill>
                  <a:schemeClr val="tx1"/>
                </a:solidFill>
                <a:latin typeface="Consolas" pitchFamily="49" charset="0"/>
                <a:cs typeface="Consolas" pitchFamily="49" charset="0"/>
              </a:rPr>
              <a:t>    });</a:t>
            </a:r>
          </a:p>
          <a:p>
            <a:r>
              <a:rPr lang="en-US" sz="2000" dirty="0" smtClean="0">
                <a:solidFill>
                  <a:schemeClr val="tx1"/>
                </a:solidFill>
                <a:latin typeface="Consolas" pitchFamily="49" charset="0"/>
                <a:cs typeface="Consolas" pitchFamily="49" charset="0"/>
              </a:rPr>
              <a:t>});</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script&gt;</a:t>
            </a:r>
          </a:p>
          <a:p>
            <a:endParaRPr lang="en-US" sz="2000" dirty="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input class=“</a:t>
            </a:r>
            <a:r>
              <a:rPr lang="en-US" sz="2000" dirty="0" err="1" smtClean="0">
                <a:solidFill>
                  <a:schemeClr val="tx1"/>
                </a:solidFill>
                <a:latin typeface="Consolas" pitchFamily="49" charset="0"/>
                <a:cs typeface="Consolas" pitchFamily="49" charset="0"/>
              </a:rPr>
              <a:t>submitButton</a:t>
            </a:r>
            <a:r>
              <a:rPr lang="en-US" sz="2000" dirty="0" smtClean="0">
                <a:solidFill>
                  <a:schemeClr val="tx1"/>
                </a:solidFill>
                <a:latin typeface="Consolas" pitchFamily="49" charset="0"/>
                <a:cs typeface="Consolas" pitchFamily="49" charset="0"/>
              </a:rPr>
              <a:t>” type=“button” value=“Submit”/&gt;</a:t>
            </a:r>
          </a:p>
          <a:p>
            <a:endParaRPr lang="en-US" sz="2000" dirty="0">
              <a:solidFill>
                <a:schemeClr val="tx1"/>
              </a:solidFill>
              <a:latin typeface="Consolas" pitchFamily="49" charset="0"/>
              <a:cs typeface="Consolas" pitchFamily="49" charset="0"/>
            </a:endParaRPr>
          </a:p>
          <a:p>
            <a:endParaRPr lang="en-US" sz="2000" dirty="0" smtClean="0">
              <a:solidFill>
                <a:schemeClr val="tx1"/>
              </a:solidFill>
              <a:latin typeface="Consolas" pitchFamily="49" charset="0"/>
              <a:cs typeface="Consolas" pitchFamily="49" charset="0"/>
            </a:endParaRPr>
          </a:p>
          <a:p>
            <a:endParaRPr lang="en-US" sz="2000" dirty="0">
              <a:solidFill>
                <a:schemeClr val="tx1"/>
              </a:solidFill>
              <a:latin typeface="Consolas" pitchFamily="49" charset="0"/>
              <a:cs typeface="Consolas" pitchFamily="49" charset="0"/>
            </a:endParaRPr>
          </a:p>
        </p:txBody>
      </p:sp>
    </p:spTree>
    <p:extLst>
      <p:ext uri="{BB962C8B-B14F-4D97-AF65-F5344CB8AC3E}">
        <p14:creationId xmlns:p14="http://schemas.microsoft.com/office/powerpoint/2010/main" val="3692720825"/>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DOM Manipulation</a:t>
            </a:r>
            <a:endParaRPr lang="en-US" dirty="0"/>
          </a:p>
        </p:txBody>
      </p:sp>
      <p:sp>
        <p:nvSpPr>
          <p:cNvPr id="18" name="Text Placeholder 17"/>
          <p:cNvSpPr>
            <a:spLocks noGrp="1"/>
          </p:cNvSpPr>
          <p:nvPr>
            <p:ph type="body" sz="quarter" idx="10"/>
          </p:nvPr>
        </p:nvSpPr>
        <p:spPr>
          <a:xfrm>
            <a:off x="519112" y="1447799"/>
            <a:ext cx="11149013" cy="332399"/>
          </a:xfrm>
        </p:spPr>
        <p:txBody>
          <a:bodyPr/>
          <a:lstStyle/>
          <a:p>
            <a:pPr marL="460375" indent="-457200">
              <a:buFont typeface="Arial" pitchFamily="34" charset="0"/>
              <a:buChar char="•"/>
            </a:pPr>
            <a:r>
              <a:rPr lang="en-US" sz="2400" dirty="0" err="1" smtClean="0"/>
              <a:t>jQuery</a:t>
            </a:r>
            <a:r>
              <a:rPr lang="en-US" sz="2400" dirty="0" smtClean="0"/>
              <a:t> can create new elements or alter existing elements</a:t>
            </a:r>
            <a:endParaRPr lang="en-US" sz="2400" dirty="0"/>
          </a:p>
        </p:txBody>
      </p:sp>
      <p:sp>
        <p:nvSpPr>
          <p:cNvPr id="5" name="Rounded Rectangle 4"/>
          <p:cNvSpPr/>
          <p:nvPr/>
        </p:nvSpPr>
        <p:spPr bwMode="auto">
          <a:xfrm>
            <a:off x="605641" y="2083982"/>
            <a:ext cx="10224654" cy="4093534"/>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tx1"/>
                </a:solidFill>
                <a:latin typeface="Consolas" pitchFamily="49" charset="0"/>
                <a:cs typeface="Consolas" pitchFamily="49" charset="0"/>
              </a:rPr>
              <a:t>&lt;script&gt;</a:t>
            </a:r>
          </a:p>
          <a:p>
            <a:r>
              <a:rPr lang="en-US" sz="2000" dirty="0">
                <a:solidFill>
                  <a:schemeClr val="tx1"/>
                </a:solidFill>
                <a:latin typeface="Consolas" pitchFamily="49" charset="0"/>
                <a:cs typeface="Consolas" pitchFamily="49" charset="0"/>
              </a:rPr>
              <a:t>$(document).ready(function() {</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submitButton</a:t>
            </a:r>
            <a:r>
              <a:rPr lang="en-US" sz="2000" dirty="0">
                <a:solidFill>
                  <a:schemeClr val="tx1"/>
                </a:solidFill>
                <a:latin typeface="Consolas" pitchFamily="49" charset="0"/>
                <a:cs typeface="Consolas" pitchFamily="49" charset="0"/>
              </a:rPr>
              <a:t>').click( function(){</a:t>
            </a:r>
          </a:p>
          <a:p>
            <a:r>
              <a:rPr lang="en-US" sz="2000" dirty="0">
                <a:solidFill>
                  <a:schemeClr val="tx1"/>
                </a:solidFill>
                <a:latin typeface="Consolas" pitchFamily="49" charset="0"/>
                <a:cs typeface="Consolas" pitchFamily="49" charset="0"/>
              </a:rPr>
              <a:t>        </a:t>
            </a:r>
            <a:r>
              <a:rPr lang="en-US" sz="2000" dirty="0">
                <a:solidFill>
                  <a:schemeClr val="accent6"/>
                </a:solidFill>
                <a:latin typeface="Consolas" pitchFamily="49" charset="0"/>
                <a:cs typeface="Consolas" pitchFamily="49" charset="0"/>
              </a:rPr>
              <a:t>$('.</a:t>
            </a:r>
            <a:r>
              <a:rPr lang="en-US" sz="2000" dirty="0" err="1">
                <a:solidFill>
                  <a:schemeClr val="accent6"/>
                </a:solidFill>
                <a:latin typeface="Consolas" pitchFamily="49" charset="0"/>
                <a:cs typeface="Consolas" pitchFamily="49" charset="0"/>
              </a:rPr>
              <a:t>submitButton</a:t>
            </a:r>
            <a:r>
              <a:rPr lang="en-US" sz="2000" dirty="0">
                <a:solidFill>
                  <a:schemeClr val="accent6"/>
                </a:solidFill>
                <a:latin typeface="Consolas" pitchFamily="49" charset="0"/>
                <a:cs typeface="Consolas" pitchFamily="49" charset="0"/>
              </a:rPr>
              <a:t>').</a:t>
            </a:r>
            <a:r>
              <a:rPr lang="en-US" sz="2000" dirty="0" err="1">
                <a:solidFill>
                  <a:schemeClr val="accent6"/>
                </a:solidFill>
                <a:latin typeface="Consolas" pitchFamily="49" charset="0"/>
                <a:cs typeface="Consolas" pitchFamily="49" charset="0"/>
              </a:rPr>
              <a:t>css</a:t>
            </a:r>
            <a:r>
              <a:rPr lang="en-US" sz="2000" dirty="0">
                <a:solidFill>
                  <a:schemeClr val="accent6"/>
                </a:solidFill>
                <a:latin typeface="Consolas" pitchFamily="49" charset="0"/>
                <a:cs typeface="Consolas" pitchFamily="49" charset="0"/>
              </a:rPr>
              <a:t>('color', '#ff0000');</a:t>
            </a:r>
          </a:p>
          <a:p>
            <a:r>
              <a:rPr lang="en-US" sz="2000" dirty="0">
                <a:solidFill>
                  <a:schemeClr val="accent6"/>
                </a:solidFill>
                <a:latin typeface="Consolas" pitchFamily="49" charset="0"/>
                <a:cs typeface="Consolas" pitchFamily="49" charset="0"/>
              </a:rPr>
              <a:t>        $('#container').append('&lt;span&gt;Clicked!&lt;/span&gt;');</a:t>
            </a:r>
          </a:p>
          <a:p>
            <a:r>
              <a:rPr lang="en-US" sz="2000" dirty="0">
                <a:solidFill>
                  <a:schemeClr val="tx1"/>
                </a:solidFill>
                <a:latin typeface="Consolas" pitchFamily="49" charset="0"/>
                <a:cs typeface="Consolas" pitchFamily="49" charset="0"/>
              </a:rPr>
              <a:t>    });</a:t>
            </a:r>
          </a:p>
          <a:p>
            <a:r>
              <a:rPr lang="en-US" sz="2000" dirty="0">
                <a:solidFill>
                  <a:schemeClr val="tx1"/>
                </a:solidFill>
                <a:latin typeface="Consolas" pitchFamily="49" charset="0"/>
                <a:cs typeface="Consolas" pitchFamily="49" charset="0"/>
              </a:rPr>
              <a:t>});	</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script&gt;</a:t>
            </a:r>
          </a:p>
          <a:p>
            <a:endParaRPr lang="en-US" sz="2000" dirty="0">
              <a:solidFill>
                <a:schemeClr val="tx1"/>
              </a:solidFill>
              <a:latin typeface="Consolas" pitchFamily="49" charset="0"/>
              <a:cs typeface="Consolas" pitchFamily="49" charset="0"/>
            </a:endParaRPr>
          </a:p>
          <a:p>
            <a:r>
              <a:rPr lang="en-US" sz="2000" dirty="0">
                <a:solidFill>
                  <a:schemeClr val="tx1"/>
                </a:solidFill>
                <a:latin typeface="Consolas" pitchFamily="49" charset="0"/>
                <a:cs typeface="Consolas" pitchFamily="49" charset="0"/>
              </a:rPr>
              <a:t>&lt;div id="container"&gt;</a:t>
            </a:r>
          </a:p>
          <a:p>
            <a:r>
              <a:rPr lang="en-US" sz="2000" dirty="0">
                <a:solidFill>
                  <a:schemeClr val="tx1"/>
                </a:solidFill>
                <a:latin typeface="Consolas" pitchFamily="49" charset="0"/>
                <a:cs typeface="Consolas" pitchFamily="49" charset="0"/>
              </a:rPr>
              <a:t>    &lt;input class="</a:t>
            </a:r>
            <a:r>
              <a:rPr lang="en-US" sz="2000" dirty="0" err="1">
                <a:solidFill>
                  <a:schemeClr val="tx1"/>
                </a:solidFill>
                <a:latin typeface="Consolas" pitchFamily="49" charset="0"/>
                <a:cs typeface="Consolas" pitchFamily="49" charset="0"/>
              </a:rPr>
              <a:t>submitButton</a:t>
            </a:r>
            <a:r>
              <a:rPr lang="en-US" sz="2000" dirty="0">
                <a:solidFill>
                  <a:schemeClr val="tx1"/>
                </a:solidFill>
                <a:latin typeface="Consolas" pitchFamily="49" charset="0"/>
                <a:cs typeface="Consolas" pitchFamily="49" charset="0"/>
              </a:rPr>
              <a:t>" type="button" value="Submit"/&gt;</a:t>
            </a:r>
          </a:p>
          <a:p>
            <a:r>
              <a:rPr lang="en-US" sz="2000" dirty="0">
                <a:solidFill>
                  <a:schemeClr val="tx1"/>
                </a:solidFill>
                <a:latin typeface="Consolas" pitchFamily="49" charset="0"/>
                <a:cs typeface="Consolas" pitchFamily="49" charset="0"/>
              </a:rPr>
              <a:t>&lt;/div&gt;</a:t>
            </a:r>
          </a:p>
        </p:txBody>
      </p:sp>
    </p:spTree>
    <p:extLst>
      <p:ext uri="{BB962C8B-B14F-4D97-AF65-F5344CB8AC3E}">
        <p14:creationId xmlns:p14="http://schemas.microsoft.com/office/powerpoint/2010/main" val="371535165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haining with </a:t>
            </a:r>
            <a:r>
              <a:rPr lang="en-US" dirty="0" err="1" smtClean="0"/>
              <a:t>jQuery</a:t>
            </a:r>
            <a:endParaRPr lang="en-US" dirty="0"/>
          </a:p>
        </p:txBody>
      </p:sp>
      <p:sp>
        <p:nvSpPr>
          <p:cNvPr id="18" name="Text Placeholder 17"/>
          <p:cNvSpPr>
            <a:spLocks noGrp="1"/>
          </p:cNvSpPr>
          <p:nvPr>
            <p:ph type="body" sz="quarter" idx="10"/>
          </p:nvPr>
        </p:nvSpPr>
        <p:spPr>
          <a:xfrm>
            <a:off x="519112" y="1447799"/>
            <a:ext cx="11149013" cy="332399"/>
          </a:xfrm>
        </p:spPr>
        <p:txBody>
          <a:bodyPr/>
          <a:lstStyle/>
          <a:p>
            <a:pPr marL="460375" indent="-457200">
              <a:buFont typeface="Arial" pitchFamily="34" charset="0"/>
              <a:buChar char="•"/>
            </a:pPr>
            <a:r>
              <a:rPr lang="en-US" sz="2400" dirty="0" smtClean="0"/>
              <a:t>DOM events can be attached to elements as they are added to the DOM</a:t>
            </a:r>
            <a:endParaRPr lang="en-US" sz="2400" dirty="0"/>
          </a:p>
        </p:txBody>
      </p:sp>
      <p:sp>
        <p:nvSpPr>
          <p:cNvPr id="5" name="Rounded Rectangle 4"/>
          <p:cNvSpPr/>
          <p:nvPr/>
        </p:nvSpPr>
        <p:spPr bwMode="auto">
          <a:xfrm>
            <a:off x="605641" y="2083982"/>
            <a:ext cx="10224654" cy="4093534"/>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tx1"/>
                </a:solidFill>
                <a:latin typeface="Consolas" pitchFamily="49" charset="0"/>
                <a:cs typeface="Consolas" pitchFamily="49" charset="0"/>
              </a:rPr>
              <a:t>&lt;script&gt;</a:t>
            </a:r>
          </a:p>
          <a:p>
            <a:r>
              <a:rPr lang="en-US" sz="2000" dirty="0">
                <a:solidFill>
                  <a:schemeClr val="tx1"/>
                </a:solidFill>
                <a:latin typeface="Consolas" pitchFamily="49" charset="0"/>
                <a:cs typeface="Consolas" pitchFamily="49" charset="0"/>
              </a:rPr>
              <a:t>$(document).ready(function() {</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submitButton</a:t>
            </a:r>
            <a:r>
              <a:rPr lang="en-US" sz="2000" dirty="0">
                <a:solidFill>
                  <a:schemeClr val="tx1"/>
                </a:solidFill>
                <a:latin typeface="Consolas" pitchFamily="49" charset="0"/>
                <a:cs typeface="Consolas" pitchFamily="49" charset="0"/>
              </a:rPr>
              <a:t>').click( function(){</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submitButton</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css</a:t>
            </a:r>
            <a:r>
              <a:rPr lang="en-US" sz="2000" dirty="0">
                <a:solidFill>
                  <a:schemeClr val="tx1"/>
                </a:solidFill>
                <a:latin typeface="Consolas" pitchFamily="49" charset="0"/>
                <a:cs typeface="Consolas" pitchFamily="49" charset="0"/>
              </a:rPr>
              <a:t>('color', '#ff0000');</a:t>
            </a:r>
          </a:p>
          <a:p>
            <a:r>
              <a:rPr lang="en-US" sz="2000" dirty="0">
                <a:solidFill>
                  <a:schemeClr val="tx1"/>
                </a:solidFill>
                <a:latin typeface="Consolas" pitchFamily="49" charset="0"/>
                <a:cs typeface="Consolas" pitchFamily="49" charset="0"/>
              </a:rPr>
              <a:t>        $('#container')</a:t>
            </a:r>
          </a:p>
          <a:p>
            <a:r>
              <a:rPr lang="en-US" sz="2000" dirty="0">
                <a:solidFill>
                  <a:schemeClr val="tx1"/>
                </a:solidFill>
                <a:latin typeface="Consolas" pitchFamily="49" charset="0"/>
                <a:cs typeface="Consolas" pitchFamily="49" charset="0"/>
              </a:rPr>
              <a:t>            .append(</a:t>
            </a:r>
            <a:r>
              <a:rPr lang="en-US" sz="2000" dirty="0">
                <a:solidFill>
                  <a:schemeClr val="accent6"/>
                </a:solidFill>
                <a:latin typeface="Consolas" pitchFamily="49" charset="0"/>
                <a:cs typeface="Consolas" pitchFamily="49" charset="0"/>
              </a:rPr>
              <a:t>$('&lt;span&gt;Clicked!&lt;/span&gt;')</a:t>
            </a:r>
          </a:p>
          <a:p>
            <a:r>
              <a:rPr lang="en-US" sz="2000" dirty="0">
                <a:solidFill>
                  <a:schemeClr val="accent6"/>
                </a:solidFill>
                <a:latin typeface="Consolas" pitchFamily="49" charset="0"/>
                <a:cs typeface="Consolas" pitchFamily="49" charset="0"/>
              </a:rPr>
              <a:t>                .click(function</a:t>
            </a:r>
            <a:r>
              <a:rPr lang="en-US" sz="2000" dirty="0" smtClean="0">
                <a:solidFill>
                  <a:schemeClr val="accent6"/>
                </a:solidFill>
                <a:latin typeface="Consolas" pitchFamily="49" charset="0"/>
                <a:cs typeface="Consolas" pitchFamily="49" charset="0"/>
              </a:rPr>
              <a:t>(){</a:t>
            </a:r>
            <a:endParaRPr lang="en-US" sz="2000" dirty="0">
              <a:solidFill>
                <a:schemeClr val="accent6"/>
              </a:solidFill>
              <a:latin typeface="Consolas" pitchFamily="49" charset="0"/>
              <a:cs typeface="Consolas" pitchFamily="49" charset="0"/>
            </a:endParaRPr>
          </a:p>
          <a:p>
            <a:r>
              <a:rPr lang="en-US" sz="2000" dirty="0">
                <a:solidFill>
                  <a:schemeClr val="accent6"/>
                </a:solidFill>
                <a:latin typeface="Consolas" pitchFamily="49" charset="0"/>
                <a:cs typeface="Consolas" pitchFamily="49" charset="0"/>
              </a:rPr>
              <a:t>                    alert('foo');</a:t>
            </a:r>
          </a:p>
          <a:p>
            <a:r>
              <a:rPr lang="en-US" sz="2000" dirty="0">
                <a:solidFill>
                  <a:schemeClr val="accent6"/>
                </a:solidFill>
                <a:latin typeface="Consolas" pitchFamily="49" charset="0"/>
                <a:cs typeface="Consolas" pitchFamily="49" charset="0"/>
              </a:rPr>
              <a:t>                })</a:t>
            </a:r>
          </a:p>
          <a:p>
            <a:r>
              <a:rPr lang="en-US" sz="2000" dirty="0">
                <a:solidFill>
                  <a:schemeClr val="tx1"/>
                </a:solidFill>
                <a:latin typeface="Consolas" pitchFamily="49" charset="0"/>
                <a:cs typeface="Consolas" pitchFamily="49" charset="0"/>
              </a:rPr>
              <a:t>            );</a:t>
            </a:r>
          </a:p>
          <a:p>
            <a:r>
              <a:rPr lang="en-US" sz="2000" dirty="0">
                <a:solidFill>
                  <a:schemeClr val="tx1"/>
                </a:solidFill>
                <a:latin typeface="Consolas" pitchFamily="49" charset="0"/>
                <a:cs typeface="Consolas" pitchFamily="49" charset="0"/>
              </a:rPr>
              <a:t>    });</a:t>
            </a:r>
          </a:p>
          <a:p>
            <a:r>
              <a:rPr lang="en-US" sz="2000" dirty="0">
                <a:solidFill>
                  <a:schemeClr val="tx1"/>
                </a:solidFill>
                <a:latin typeface="Consolas" pitchFamily="49" charset="0"/>
                <a:cs typeface="Consolas" pitchFamily="49" charset="0"/>
              </a:rPr>
              <a:t>});		</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script&gt;</a:t>
            </a:r>
            <a:endParaRPr lang="en-US" sz="2000" dirty="0">
              <a:solidFill>
                <a:schemeClr val="tx1"/>
              </a:solidFill>
              <a:latin typeface="Consolas" pitchFamily="49" charset="0"/>
              <a:cs typeface="Consolas" pitchFamily="49" charset="0"/>
            </a:endParaRPr>
          </a:p>
        </p:txBody>
      </p:sp>
    </p:spTree>
    <p:extLst>
      <p:ext uri="{BB962C8B-B14F-4D97-AF65-F5344CB8AC3E}">
        <p14:creationId xmlns:p14="http://schemas.microsoft.com/office/powerpoint/2010/main" val="1364738957"/>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58559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a:xfrm>
            <a:off x="1889124" y="1447800"/>
            <a:ext cx="6042764" cy="1523494"/>
          </a:xfrm>
        </p:spPr>
        <p:txBody>
          <a:bodyPr/>
          <a:lstStyle/>
          <a:p>
            <a:r>
              <a:rPr lang="en-US" dirty="0" err="1" smtClean="0"/>
              <a:t>jQuery</a:t>
            </a:r>
            <a:r>
              <a:rPr lang="en-US" dirty="0" smtClean="0"/>
              <a:t> Fundamentals</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59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211936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3463013"/>
            <a:ext cx="5116375" cy="553998"/>
          </a:xfrm>
        </p:spPr>
        <p:txBody>
          <a:bodyPr/>
          <a:lstStyle/>
          <a:p>
            <a:r>
              <a:rPr lang="en-US" dirty="0" smtClean="0"/>
              <a:t>It is the future of the web</a:t>
            </a:r>
            <a:endParaRPr lang="en-US" dirty="0"/>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205624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02922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77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AJAX and </a:t>
            </a:r>
            <a:r>
              <a:rPr lang="en-US" dirty="0" err="1" smtClean="0"/>
              <a:t>jQuery</a:t>
            </a:r>
            <a:endParaRPr lang="en-US" dirty="0"/>
          </a:p>
        </p:txBody>
      </p:sp>
      <p:sp>
        <p:nvSpPr>
          <p:cNvPr id="11" name="Content Placeholder 10"/>
          <p:cNvSpPr>
            <a:spLocks noGrp="1"/>
          </p:cNvSpPr>
          <p:nvPr>
            <p:ph type="body" sz="quarter" idx="10"/>
            <p:custDataLst>
              <p:tags r:id="rId4"/>
            </p:custDataLst>
          </p:nvPr>
        </p:nvSpPr>
        <p:spPr>
          <a:xfrm>
            <a:off x="519112" y="1447799"/>
            <a:ext cx="11149013" cy="1040285"/>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Start</a:t>
            </a:r>
            <a:endParaRPr lang="en-US" dirty="0" smtClean="0">
              <a:gradFill>
                <a:gsLst>
                  <a:gs pos="0">
                    <a:schemeClr val="accent2"/>
                  </a:gs>
                  <a:gs pos="100000">
                    <a:schemeClr val="accent2"/>
                  </a:gs>
                </a:gsLst>
                <a:lin ang="5400000" scaled="0"/>
              </a:gradFill>
              <a:latin typeface="Segoe UI Light" pitchFamily="34" charset="0"/>
            </a:endParaRPr>
          </a:p>
          <a:p>
            <a:pPr>
              <a:spcAft>
                <a:spcPts val="1200"/>
              </a:spcAft>
            </a:pPr>
            <a:r>
              <a:rPr lang="en-US" dirty="0" smtClean="0"/>
              <a:t>here</a:t>
            </a:r>
            <a:endParaRPr lang="en-US" dirty="0"/>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36549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First Topic</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Second Topic</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Third Topic</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303570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hat is HTML5?</a:t>
            </a:r>
            <a:endParaRPr lang="en-US" dirty="0"/>
          </a:p>
        </p:txBody>
      </p:sp>
      <p:sp>
        <p:nvSpPr>
          <p:cNvPr id="5" name="Text Placeholder 4"/>
          <p:cNvSpPr>
            <a:spLocks noGrp="1"/>
          </p:cNvSpPr>
          <p:nvPr>
            <p:ph type="body" sz="quarter" idx="10"/>
          </p:nvPr>
        </p:nvSpPr>
        <p:spPr>
          <a:xfrm>
            <a:off x="519112" y="3463013"/>
            <a:ext cx="5116375" cy="1107996"/>
          </a:xfrm>
        </p:spPr>
        <p:txBody>
          <a:bodyPr/>
          <a:lstStyle/>
          <a:p>
            <a:r>
              <a:rPr lang="en-US" dirty="0" smtClean="0"/>
              <a:t>A language with support on a variety of devices</a:t>
            </a:r>
            <a:endParaRPr lang="en-US" dirty="0"/>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44279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3271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HTML 5 </a:t>
            </a:r>
            <a:r>
              <a:rPr lang="en-US" dirty="0" smtClean="0"/>
              <a:t>in IE 9 &amp; 10</a:t>
            </a:r>
            <a:endParaRPr lang="en-US" dirty="0"/>
          </a:p>
        </p:txBody>
      </p:sp>
      <p:sp>
        <p:nvSpPr>
          <p:cNvPr id="6" name="Freeform 73"/>
          <p:cNvSpPr>
            <a:spLocks noEditPoints="1"/>
          </p:cNvSpPr>
          <p:nvPr/>
        </p:nvSpPr>
        <p:spPr bwMode="black">
          <a:xfrm>
            <a:off x="-417550" y="3978186"/>
            <a:ext cx="3936002" cy="3799685"/>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alpha val="30000"/>
            </a:srgb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7463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9</a:t>
            </a:r>
            <a:endParaRPr lang="en-US" dirty="0"/>
          </a:p>
        </p:txBody>
      </p:sp>
      <p:graphicFrame>
        <p:nvGraphicFramePr>
          <p:cNvPr id="9" name="Diagram 8"/>
          <p:cNvGraphicFramePr/>
          <p:nvPr>
            <p:extLst>
              <p:ext uri="{D42A27DB-BD31-4B8C-83A1-F6EECF244321}">
                <p14:modId xmlns:p14="http://schemas.microsoft.com/office/powerpoint/2010/main" val="3078538211"/>
              </p:ext>
            </p:extLst>
          </p:nvPr>
        </p:nvGraphicFramePr>
        <p:xfrm>
          <a:off x="2031471" y="1007452"/>
          <a:ext cx="8125883" cy="5417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p:cNvSpPr/>
          <p:nvPr/>
        </p:nvSpPr>
        <p:spPr bwMode="auto">
          <a:xfrm>
            <a:off x="1988288" y="5411971"/>
            <a:ext cx="8187069" cy="627321"/>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ardware Acceleration</a:t>
            </a:r>
          </a:p>
        </p:txBody>
      </p:sp>
    </p:spTree>
    <p:extLst>
      <p:ext uri="{BB962C8B-B14F-4D97-AF65-F5344CB8AC3E}">
        <p14:creationId xmlns:p14="http://schemas.microsoft.com/office/powerpoint/2010/main" val="254898212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TML5 in IE10</a:t>
            </a:r>
            <a:endParaRPr lang="en-US" dirty="0"/>
          </a:p>
        </p:txBody>
      </p:sp>
      <p:graphicFrame>
        <p:nvGraphicFramePr>
          <p:cNvPr id="9" name="Diagram 8"/>
          <p:cNvGraphicFramePr/>
          <p:nvPr>
            <p:extLst>
              <p:ext uri="{D42A27DB-BD31-4B8C-83A1-F6EECF244321}">
                <p14:modId xmlns:p14="http://schemas.microsoft.com/office/powerpoint/2010/main" val="658635608"/>
              </p:ext>
            </p:extLst>
          </p:nvPr>
        </p:nvGraphicFramePr>
        <p:xfrm>
          <a:off x="2031471" y="1007452"/>
          <a:ext cx="8125883" cy="5417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422313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9718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html5labs.com</a:t>
            </a:r>
            <a:endParaRPr lang="en-US" dirty="0"/>
          </a:p>
        </p:txBody>
      </p:sp>
      <p:sp>
        <p:nvSpPr>
          <p:cNvPr id="3" name="Text Placeholder 2"/>
          <p:cNvSpPr>
            <a:spLocks noGrp="1"/>
          </p:cNvSpPr>
          <p:nvPr>
            <p:ph type="body" sz="quarter" idx="10"/>
            <p:custDataLst>
              <p:tags r:id="rId3"/>
            </p:custDataLst>
          </p:nvPr>
        </p:nvSpPr>
        <p:spPr>
          <a:xfrm>
            <a:off x="519112" y="1022480"/>
            <a:ext cx="11149013" cy="583020"/>
          </a:xfrm>
        </p:spPr>
        <p:txBody>
          <a:bodyPr/>
          <a:lstStyle/>
          <a:p>
            <a:pPr>
              <a:spcAft>
                <a:spcPts val="1200"/>
              </a:spcAft>
            </a:pPr>
            <a:r>
              <a:rPr lang="en-US" sz="3200" dirty="0" smtClean="0">
                <a:ln w="3175">
                  <a:noFill/>
                </a:ln>
                <a:gradFill flip="none" rotWithShape="1">
                  <a:gsLst>
                    <a:gs pos="0">
                      <a:srgbClr val="595959"/>
                    </a:gs>
                    <a:gs pos="86000">
                      <a:srgbClr val="595959"/>
                    </a:gs>
                  </a:gsLst>
                  <a:lin ang="5400000" scaled="0"/>
                  <a:tileRect/>
                </a:gradFill>
                <a:cs typeface="Arial" charset="0"/>
              </a:rPr>
              <a:t>HTML5 </a:t>
            </a:r>
            <a:r>
              <a:rPr lang="en-US" sz="3200" dirty="0" err="1" smtClean="0">
                <a:ln w="3175">
                  <a:noFill/>
                </a:ln>
                <a:gradFill flip="none" rotWithShape="1">
                  <a:gsLst>
                    <a:gs pos="0">
                      <a:srgbClr val="595959"/>
                    </a:gs>
                    <a:gs pos="86000">
                      <a:srgbClr val="595959"/>
                    </a:gs>
                  </a:gsLst>
                  <a:lin ang="5400000" scaled="0"/>
                  <a:tileRect/>
                </a:gradFill>
                <a:cs typeface="Arial" charset="0"/>
              </a:rPr>
              <a:t>IndexedDB</a:t>
            </a:r>
            <a:r>
              <a:rPr lang="en-US" sz="3200" dirty="0" smtClean="0">
                <a:ln w="3175">
                  <a:noFill/>
                </a:ln>
                <a:gradFill flip="none" rotWithShape="1">
                  <a:gsLst>
                    <a:gs pos="0">
                      <a:srgbClr val="595959"/>
                    </a:gs>
                    <a:gs pos="86000">
                      <a:srgbClr val="595959"/>
                    </a:gs>
                  </a:gsLst>
                  <a:lin ang="5400000" scaled="0"/>
                  <a:tileRect/>
                </a:gradFill>
                <a:cs typeface="Arial" charset="0"/>
              </a:rPr>
              <a:t>, Web Sockets, File API, and Media Capture API </a:t>
            </a:r>
            <a:endParaRPr lang="en-US" sz="2400" dirty="0" smtClean="0">
              <a:latin typeface="+mn-lt"/>
            </a:endParaRPr>
          </a:p>
          <a:p>
            <a:pPr>
              <a:spcAft>
                <a:spcPts val="1200"/>
              </a:spcAft>
            </a:pPr>
            <a:endParaRPr lang="en-US" sz="3200" dirty="0">
              <a:latin typeface="+mn-lt"/>
            </a:endParaRPr>
          </a:p>
        </p:txBody>
      </p:sp>
      <p:pic>
        <p:nvPicPr>
          <p:cNvPr id="6349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6440" y="1584251"/>
            <a:ext cx="5795944" cy="5034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025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www.w3.org/XML/1998/namespace"/>
    <ds:schemaRef ds:uri="http://schemas.microsoft.com/office/infopath/2007/PartnerControls"/>
    <ds:schemaRef ds:uri="http://purl.org/dc/elements/1.1/"/>
    <ds:schemaRef ds:uri="230e9df3-be65-4c73-a93b-d1236ebd677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65</TotalTime>
  <Words>1908</Words>
  <Application>Microsoft Office PowerPoint</Application>
  <PresentationFormat>Custom</PresentationFormat>
  <Paragraphs>472</Paragraphs>
  <Slides>44</Slides>
  <Notes>2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1" baseType="lpstr">
      <vt:lpstr>Arial</vt:lpstr>
      <vt:lpstr>Consolas</vt:lpstr>
      <vt:lpstr>Segoe UI Light</vt:lpstr>
      <vt:lpstr>Segoe UI</vt:lpstr>
      <vt:lpstr>MS1444_Windows Azure Template 16x9_r08b</vt:lpstr>
      <vt:lpstr>White with Consolas font for code slides</vt:lpstr>
      <vt:lpstr>think-cell Slide</vt:lpstr>
      <vt:lpstr>Creating Rich HTML 5 Experiences</vt:lpstr>
      <vt:lpstr>Agenda </vt:lpstr>
      <vt:lpstr>What is HTML5?</vt:lpstr>
      <vt:lpstr>What is HTML5?</vt:lpstr>
      <vt:lpstr>What is HTML5?</vt:lpstr>
      <vt:lpstr>PowerPoint Presentation</vt:lpstr>
      <vt:lpstr>HTML5 in IE9</vt:lpstr>
      <vt:lpstr>HTML5 in IE10</vt:lpstr>
      <vt:lpstr>html5labs.com</vt:lpstr>
      <vt:lpstr>Resources</vt:lpstr>
      <vt:lpstr>PowerPoint Presentation</vt:lpstr>
      <vt:lpstr>Map of HTML5</vt:lpstr>
      <vt:lpstr>New HTML5 Markup Elements</vt:lpstr>
      <vt:lpstr>Canvas</vt:lpstr>
      <vt:lpstr>Scalable Vector Graphics (SVG)</vt:lpstr>
      <vt:lpstr>SVG Code Example</vt:lpstr>
      <vt:lpstr>HTML 5 &lt;video&gt;</vt:lpstr>
      <vt:lpstr>HTML 5 &lt;video&gt; Attributes</vt:lpstr>
      <vt:lpstr>HTML 5 &lt;audio&gt;</vt:lpstr>
      <vt:lpstr>HTML5</vt:lpstr>
      <vt:lpstr>SVG</vt:lpstr>
      <vt:lpstr>Creating SVG Shapes</vt:lpstr>
      <vt:lpstr>SVG</vt:lpstr>
      <vt:lpstr>CSS3 Fonts &amp; @font-face</vt:lpstr>
      <vt:lpstr>CSS3 Media Queries</vt:lpstr>
      <vt:lpstr>CSS3 Colors</vt:lpstr>
      <vt:lpstr>CSS3 Backgrounds &amp; Borders</vt:lpstr>
      <vt:lpstr>CSS3 Transform</vt:lpstr>
      <vt:lpstr>CSS3 Demo</vt:lpstr>
      <vt:lpstr>Resources</vt:lpstr>
      <vt:lpstr>PowerPoint Presentation</vt:lpstr>
      <vt:lpstr>Who Uses jQuery?</vt:lpstr>
      <vt:lpstr>jQuery Community</vt:lpstr>
      <vt:lpstr>Adding jQuery</vt:lpstr>
      <vt:lpstr>jQuery Fundamentals</vt:lpstr>
      <vt:lpstr>Functional Syntax</vt:lpstr>
      <vt:lpstr>DOM Manipulation</vt:lpstr>
      <vt:lpstr>Chaining with jQuery</vt:lpstr>
      <vt:lpstr>jQuery Fundamentals</vt:lpstr>
      <vt:lpstr>AJAX and jQuery</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11</cp:revision>
  <cp:lastPrinted>2011-10-11T14:25:22Z</cp:lastPrinted>
  <dcterms:created xsi:type="dcterms:W3CDTF">2011-03-29T16:07:22Z</dcterms:created>
  <dcterms:modified xsi:type="dcterms:W3CDTF">2012-03-09T04:0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